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3"/>
  </p:notesMasterIdLst>
  <p:sldIdLst>
    <p:sldId id="258"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9" d="100"/>
          <a:sy n="109" d="100"/>
        </p:scale>
        <p:origin x="58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30C94A-0AE9-4206-9E24-E1B77370C33D}" type="datetimeFigureOut">
              <a:rPr lang="en-US" smtClean="0"/>
              <a:t>9/12/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F1339D-D6AB-48A6-9CE3-DCB5D3418E7F}" type="slidenum">
              <a:rPr lang="en-US" smtClean="0"/>
              <a:t>‹#›</a:t>
            </a:fld>
            <a:endParaRPr lang="en-US"/>
          </a:p>
        </p:txBody>
      </p:sp>
    </p:spTree>
    <p:extLst>
      <p:ext uri="{BB962C8B-B14F-4D97-AF65-F5344CB8AC3E}">
        <p14:creationId xmlns:p14="http://schemas.microsoft.com/office/powerpoint/2010/main" val="24764208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K resource to write </a:t>
            </a:r>
            <a:endParaRPr lang="en-US" dirty="0"/>
          </a:p>
        </p:txBody>
      </p:sp>
      <p:sp>
        <p:nvSpPr>
          <p:cNvPr id="4" name="Slide Number Placeholder 3"/>
          <p:cNvSpPr>
            <a:spLocks noGrp="1"/>
          </p:cNvSpPr>
          <p:nvPr>
            <p:ph type="sldNum" sz="quarter" idx="10"/>
          </p:nvPr>
        </p:nvSpPr>
        <p:spPr/>
        <p:txBody>
          <a:bodyPr/>
          <a:lstStyle/>
          <a:p>
            <a:fld id="{E2FEE106-D861-6343-96FF-5BF90692C3C7}" type="slidenum">
              <a:rPr lang="en-CA" smtClean="0">
                <a:solidFill>
                  <a:prstClr val="black"/>
                </a:solidFill>
              </a:rPr>
              <a:pPr/>
              <a:t>1</a:t>
            </a:fld>
            <a:endParaRPr lang="en-CA" dirty="0">
              <a:solidFill>
                <a:prstClr val="black"/>
              </a:solidFill>
            </a:endParaRPr>
          </a:p>
        </p:txBody>
      </p:sp>
    </p:spTree>
    <p:extLst>
      <p:ext uri="{BB962C8B-B14F-4D97-AF65-F5344CB8AC3E}">
        <p14:creationId xmlns:p14="http://schemas.microsoft.com/office/powerpoint/2010/main" val="41532134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kpmg.com/socialmedia" TargetMode="External"/><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hyperlink" Target="https://kpmgbrandcentral.brandwizard.net/app/asset/asset_search.aspx?catid=756&amp;libid=2" TargetMode="Externa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5.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Imag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996952" y="0"/>
            <a:ext cx="11195047" cy="6858000"/>
          </a:xfrm>
          <a:prstGeom prst="rect">
            <a:avLst/>
          </a:prstGeom>
        </p:spPr>
      </p:pic>
      <p:sp>
        <p:nvSpPr>
          <p:cNvPr id="7" name="Text Placeholder 6"/>
          <p:cNvSpPr>
            <a:spLocks noGrp="1"/>
          </p:cNvSpPr>
          <p:nvPr>
            <p:ph type="body" sz="quarter" idx="11"/>
          </p:nvPr>
        </p:nvSpPr>
        <p:spPr bwMode="gray">
          <a:xfrm>
            <a:off x="2057402" y="4758219"/>
            <a:ext cx="6563179" cy="676656"/>
          </a:xfrm>
          <a:prstGeom prst="rect">
            <a:avLst/>
          </a:prstGeom>
        </p:spPr>
        <p:txBody>
          <a:bodyPr vert="horz" wrap="square" lIns="0" tIns="0" rIns="0" bIns="0">
            <a:noAutofit/>
          </a:bodyPr>
          <a:lstStyle>
            <a:lvl1pPr>
              <a:spcBef>
                <a:spcPts val="299"/>
              </a:spcBef>
              <a:spcAft>
                <a:spcPts val="0"/>
              </a:spcAft>
              <a:defRPr sz="1400" b="1" i="0">
                <a:solidFill>
                  <a:srgbClr val="FFFFFF"/>
                </a:solidFill>
                <a:latin typeface="Univers for KPMG"/>
                <a:cs typeface="Univers for KPMG"/>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noProof="0" smtClean="0"/>
              <a:t>Click to edit Master text styles</a:t>
            </a:r>
          </a:p>
        </p:txBody>
      </p:sp>
      <p:sp>
        <p:nvSpPr>
          <p:cNvPr id="8" name="object 3"/>
          <p:cNvSpPr/>
          <p:nvPr userDrawn="1"/>
        </p:nvSpPr>
        <p:spPr bwMode="gray">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8582"/>
            <a:endParaRPr lang="en-CA" sz="1867" dirty="0">
              <a:solidFill>
                <a:srgbClr val="000000"/>
              </a:solidFill>
            </a:endParaRPr>
          </a:p>
        </p:txBody>
      </p:sp>
      <p:sp>
        <p:nvSpPr>
          <p:cNvPr id="10" name="Title 2"/>
          <p:cNvSpPr>
            <a:spLocks noGrp="1"/>
          </p:cNvSpPr>
          <p:nvPr>
            <p:ph type="title"/>
          </p:nvPr>
        </p:nvSpPr>
        <p:spPr bwMode="gray">
          <a:xfrm>
            <a:off x="2057402" y="1400175"/>
            <a:ext cx="6588577" cy="2562767"/>
          </a:xfrm>
          <a:prstGeom prst="rect">
            <a:avLst/>
          </a:prstGeom>
        </p:spPr>
        <p:txBody>
          <a:bodyPr lIns="0" tIns="0" rIns="0" bIns="0" anchor="t" anchorCtr="0">
            <a:noAutofit/>
          </a:bodyPr>
          <a:lstStyle>
            <a:lvl1pPr>
              <a:lnSpc>
                <a:spcPts val="9866"/>
              </a:lnSpc>
              <a:defRPr sz="11000">
                <a:solidFill>
                  <a:schemeClr val="bg1"/>
                </a:solidFill>
                <a:latin typeface="KPMG Extralight"/>
                <a:cs typeface="KPMG Extralight"/>
              </a:defRPr>
            </a:lvl1pPr>
          </a:lstStyle>
          <a:p>
            <a:r>
              <a:rPr lang="en-US" noProof="0" smtClean="0"/>
              <a:t>Click to edit Master title style</a:t>
            </a:r>
            <a:endParaRPr lang="en-CA" noProof="0" dirty="0"/>
          </a:p>
        </p:txBody>
      </p:sp>
      <p:pic>
        <p:nvPicPr>
          <p:cNvPr id="9" name="Picture 4" descr="KPMG_NoCP_white_US_283_6780.eps"/>
          <p:cNvPicPr>
            <a:picLocks noChangeAspect="1"/>
          </p:cNvPicPr>
          <p:nvPr userDrawn="1"/>
        </p:nvPicPr>
        <p:blipFill rotWithShape="1">
          <a:blip r:embed="rId7" cstate="email">
            <a:extLst>
              <a:ext uri="{28A0092B-C50C-407E-A947-70E740481C1C}">
                <a14:useLocalDpi xmlns:a14="http://schemas.microsoft.com/office/drawing/2010/main"/>
              </a:ext>
            </a:extLst>
          </a:blip>
          <a:srcRect l="7816" t="22176" r="7816" b="22176"/>
          <a:stretch/>
        </p:blipFill>
        <p:spPr bwMode="gray">
          <a:xfrm>
            <a:off x="2005174" y="616555"/>
            <a:ext cx="1255552" cy="593672"/>
          </a:xfrm>
          <a:prstGeom prst="rect">
            <a:avLst/>
          </a:prstGeom>
        </p:spPr>
      </p:pic>
    </p:spTree>
    <p:extLst>
      <p:ext uri="{BB962C8B-B14F-4D97-AF65-F5344CB8AC3E}">
        <p14:creationId xmlns:p14="http://schemas.microsoft.com/office/powerpoint/2010/main" val="22784074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noProof="0" smtClean="0"/>
              <a:t>Click to edit Master title style</a:t>
            </a:r>
            <a:endParaRPr lang="en-CA" noProof="0" dirty="0"/>
          </a:p>
        </p:txBody>
      </p:sp>
      <p:sp>
        <p:nvSpPr>
          <p:cNvPr id="14" name="Text Placeholder 7"/>
          <p:cNvSpPr>
            <a:spLocks noGrp="1"/>
          </p:cNvSpPr>
          <p:nvPr>
            <p:ph type="body" sz="quarter" idx="11"/>
          </p:nvPr>
        </p:nvSpPr>
        <p:spPr>
          <a:xfrm>
            <a:off x="996951" y="1526721"/>
            <a:ext cx="4876800" cy="4378779"/>
          </a:xfrm>
          <a:prstGeom prst="rect">
            <a:avLst/>
          </a:prstGeom>
        </p:spPr>
        <p:txBody>
          <a:bodyPr vert="horz" lIns="0" tIns="0" rIns="0" bIns="0">
            <a:noAutofit/>
          </a:bodyPr>
          <a:lstStyle>
            <a:lvl1pPr>
              <a:defRPr b="1" i="0">
                <a:solidFill>
                  <a:schemeClr val="tx2"/>
                </a:solidFill>
                <a:latin typeface="Univers for KPMG"/>
                <a:cs typeface="Univers for KPMG"/>
              </a:defRPr>
            </a:lvl1pPr>
            <a:lvl2pPr>
              <a:defRPr b="0" i="0">
                <a:solidFill>
                  <a:schemeClr val="tx2"/>
                </a:solidFill>
                <a:latin typeface="+mn-lt"/>
                <a:cs typeface="Univers for KPMG Light" panose="020B0403020202020204" pitchFamily="34" charset="0"/>
              </a:defRPr>
            </a:lvl2pPr>
            <a:lvl3pPr>
              <a:defRPr b="0" i="0">
                <a:solidFill>
                  <a:schemeClr val="tx2"/>
                </a:solidFill>
                <a:latin typeface="+mn-lt"/>
                <a:cs typeface="Univers for KPMG Light" panose="020B0403020202020204" pitchFamily="34" charset="0"/>
              </a:defRPr>
            </a:lvl3pPr>
            <a:lvl4pPr>
              <a:defRPr b="0" i="0">
                <a:solidFill>
                  <a:schemeClr val="tx2"/>
                </a:solidFill>
                <a:latin typeface="+mn-lt"/>
                <a:cs typeface="Univers for KPMG Light" panose="020B0403020202020204" pitchFamily="34" charset="0"/>
              </a:defRPr>
            </a:lvl4pPr>
            <a:lvl5pPr>
              <a:defRPr lang="en-US" sz="1100" b="0" i="0" kern="1200" dirty="0" smtClean="0">
                <a:solidFill>
                  <a:schemeClr val="tx2"/>
                </a:solidFill>
                <a:latin typeface="+mn-lt"/>
                <a:ea typeface="+mn-ea"/>
                <a:cs typeface="Univers for KPMG Light" panose="020B0403020202020204"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5" name="Text Placeholder 7"/>
          <p:cNvSpPr>
            <a:spLocks noGrp="1"/>
          </p:cNvSpPr>
          <p:nvPr>
            <p:ph type="body" sz="quarter" idx="12"/>
          </p:nvPr>
        </p:nvSpPr>
        <p:spPr>
          <a:xfrm>
            <a:off x="6295929" y="1526721"/>
            <a:ext cx="4877955" cy="4378779"/>
          </a:xfrm>
          <a:prstGeom prst="rect">
            <a:avLst/>
          </a:prstGeom>
        </p:spPr>
        <p:txBody>
          <a:bodyPr vert="horz" lIns="0" tIns="0" rIns="0" bIns="0">
            <a:noAutofit/>
          </a:bodyPr>
          <a:lstStyle>
            <a:lvl1pPr>
              <a:defRPr sz="1800" b="1" i="0">
                <a:solidFill>
                  <a:schemeClr val="tx2"/>
                </a:solidFill>
                <a:latin typeface="Univers for KPMG"/>
                <a:cs typeface="Univers for KPMG"/>
              </a:defRPr>
            </a:lvl1pPr>
            <a:lvl2pPr>
              <a:defRPr sz="1600" b="0" i="0">
                <a:solidFill>
                  <a:schemeClr val="tx2"/>
                </a:solidFill>
                <a:latin typeface="+mn-lt"/>
                <a:cs typeface="Univers for KPMG Light" panose="020B0403020202020204" pitchFamily="34" charset="0"/>
              </a:defRPr>
            </a:lvl2pPr>
            <a:lvl3pPr>
              <a:defRPr sz="1400" b="0" i="0">
                <a:solidFill>
                  <a:schemeClr val="tx2"/>
                </a:solidFill>
                <a:latin typeface="+mn-lt"/>
                <a:cs typeface="Univers for KPMG Light" panose="020B0403020202020204" pitchFamily="34" charset="0"/>
              </a:defRPr>
            </a:lvl3pPr>
            <a:lvl4pPr>
              <a:defRPr sz="1200" b="0" i="0">
                <a:solidFill>
                  <a:schemeClr val="tx2"/>
                </a:solidFill>
                <a:latin typeface="+mn-lt"/>
                <a:cs typeface="Univers for KPMG Light" panose="020B0403020202020204" pitchFamily="34" charset="0"/>
              </a:defRPr>
            </a:lvl4pPr>
            <a:lvl5pPr>
              <a:defRPr lang="en-US" sz="1100" b="0" i="0" kern="1200" dirty="0" smtClean="0">
                <a:solidFill>
                  <a:schemeClr val="tx2"/>
                </a:solidFill>
                <a:latin typeface="+mn-lt"/>
                <a:ea typeface="+mn-ea"/>
                <a:cs typeface="Univers for KPMG Light" panose="020B0403020202020204"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Tree>
    <p:extLst>
      <p:ext uri="{BB962C8B-B14F-4D97-AF65-F5344CB8AC3E}">
        <p14:creationId xmlns:p14="http://schemas.microsoft.com/office/powerpoint/2010/main" val="305189306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Color Header">
    <p:spTree>
      <p:nvGrpSpPr>
        <p:cNvPr id="1" name=""/>
        <p:cNvGrpSpPr/>
        <p:nvPr/>
      </p:nvGrpSpPr>
      <p:grpSpPr>
        <a:xfrm>
          <a:off x="0" y="0"/>
          <a:ext cx="0" cy="0"/>
          <a:chOff x="0" y="0"/>
          <a:chExt cx="0" cy="0"/>
        </a:xfrm>
      </p:grpSpPr>
      <p:sp>
        <p:nvSpPr>
          <p:cNvPr id="5" name="Text Placeholder 20"/>
          <p:cNvSpPr>
            <a:spLocks noGrp="1"/>
          </p:cNvSpPr>
          <p:nvPr>
            <p:ph type="body" sz="quarter" idx="26"/>
          </p:nvPr>
        </p:nvSpPr>
        <p:spPr bwMode="gray">
          <a:xfrm>
            <a:off x="1016000" y="1533974"/>
            <a:ext cx="4866411" cy="426909"/>
          </a:xfrm>
          <a:prstGeom prst="rect">
            <a:avLst/>
          </a:prstGeom>
          <a:solidFill>
            <a:srgbClr val="00338D"/>
          </a:solidFill>
          <a:ln w="12700">
            <a:noFill/>
          </a:ln>
        </p:spPr>
        <p:txBody>
          <a:bodyPr vert="horz" lIns="36000" tIns="36000" rIns="36000" bIns="36000" rtlCol="0" anchor="ctr" anchorCtr="0">
            <a:noAutofit/>
          </a:bodyPr>
          <a:lstStyle>
            <a:lvl1pPr algn="l">
              <a:lnSpc>
                <a:spcPct val="90000"/>
              </a:lnSpc>
              <a:spcBef>
                <a:spcPts val="0"/>
              </a:spcBef>
              <a:defRPr lang="en-US" sz="18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6" name="Text Placeholder 20"/>
          <p:cNvSpPr>
            <a:spLocks noGrp="1"/>
          </p:cNvSpPr>
          <p:nvPr>
            <p:ph type="body" sz="quarter" idx="27"/>
          </p:nvPr>
        </p:nvSpPr>
        <p:spPr bwMode="gray">
          <a:xfrm>
            <a:off x="6309594" y="1533974"/>
            <a:ext cx="4864292" cy="426909"/>
          </a:xfrm>
          <a:prstGeom prst="rect">
            <a:avLst/>
          </a:prstGeom>
          <a:solidFill>
            <a:srgbClr val="00338D"/>
          </a:solidFill>
          <a:ln w="12700">
            <a:noFill/>
          </a:ln>
        </p:spPr>
        <p:txBody>
          <a:bodyPr vert="horz" lIns="36000" tIns="36000" rIns="36000" bIns="36000" rtlCol="0" anchor="ctr" anchorCtr="0">
            <a:noAutofit/>
          </a:bodyPr>
          <a:lstStyle>
            <a:lvl1pPr algn="l">
              <a:lnSpc>
                <a:spcPct val="90000"/>
              </a:lnSpc>
              <a:spcBef>
                <a:spcPts val="0"/>
              </a:spcBef>
              <a:defRPr lang="en-US" sz="18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8" name="Text Placeholder 7"/>
          <p:cNvSpPr>
            <a:spLocks noGrp="1"/>
          </p:cNvSpPr>
          <p:nvPr>
            <p:ph type="body" sz="quarter" idx="15"/>
          </p:nvPr>
        </p:nvSpPr>
        <p:spPr bwMode="gray">
          <a:xfrm>
            <a:off x="1016000" y="2050311"/>
            <a:ext cx="4866409" cy="3855190"/>
          </a:xfrm>
          <a:prstGeom prst="rect">
            <a:avLst/>
          </a:prstGeom>
        </p:spPr>
        <p:txBody>
          <a:bodyPr vert="horz" lIns="36000" tIns="36000" rIns="36000" bIns="36000"/>
          <a:lstStyle>
            <a:lvl1pPr>
              <a:defRPr sz="1800" b="1" i="0">
                <a:solidFill>
                  <a:schemeClr val="tx2"/>
                </a:solidFill>
                <a:latin typeface="Univers for KPMG"/>
                <a:cs typeface="Univers for KPMG"/>
              </a:defRPr>
            </a:lvl1pPr>
            <a:lvl2pPr>
              <a:defRPr>
                <a:solidFill>
                  <a:schemeClr val="tx2"/>
                </a:solidFill>
                <a:latin typeface="+mn-lt"/>
                <a:cs typeface="Univers for KPMG Light"/>
              </a:defRPr>
            </a:lvl2pPr>
            <a:lvl3pPr>
              <a:defRPr>
                <a:solidFill>
                  <a:schemeClr val="tx2"/>
                </a:solidFill>
                <a:latin typeface="+mn-lt"/>
                <a:cs typeface="Univers for KPMG Light"/>
              </a:defRPr>
            </a:lvl3pPr>
            <a:lvl4pPr>
              <a:defRPr>
                <a:solidFill>
                  <a:schemeClr val="tx2"/>
                </a:solidFill>
                <a:latin typeface="+mn-lt"/>
                <a:cs typeface="Univers for KPMG Light"/>
              </a:defRPr>
            </a:lvl4pPr>
            <a:lvl5pPr>
              <a:defRPr lang="en-US" sz="1100" kern="1200" dirty="0" smtClean="0">
                <a:solidFill>
                  <a:schemeClr val="tx2"/>
                </a:solidFill>
                <a:latin typeface="+mn-lt"/>
                <a:ea typeface="+mn-ea"/>
                <a:cs typeface="Univers for KPMG Ligh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9" name="Text Placeholder 7"/>
          <p:cNvSpPr>
            <a:spLocks noGrp="1"/>
          </p:cNvSpPr>
          <p:nvPr>
            <p:ph type="body" sz="quarter" idx="28"/>
          </p:nvPr>
        </p:nvSpPr>
        <p:spPr bwMode="gray">
          <a:xfrm>
            <a:off x="6309594" y="2050311"/>
            <a:ext cx="4864292" cy="3855190"/>
          </a:xfrm>
          <a:prstGeom prst="rect">
            <a:avLst/>
          </a:prstGeom>
        </p:spPr>
        <p:txBody>
          <a:bodyPr vert="horz" lIns="36000" tIns="36000" rIns="36000" bIns="36000"/>
          <a:lstStyle>
            <a:lvl1pPr>
              <a:defRPr sz="1800" b="1" i="0">
                <a:latin typeface="Univers for KPMG"/>
                <a:cs typeface="Univers for KPMG"/>
              </a:defRPr>
            </a:lvl1pPr>
            <a:lvl2pPr>
              <a:defRPr>
                <a:latin typeface="+mn-lt"/>
                <a:cs typeface="Univers for KPMG Light"/>
              </a:defRPr>
            </a:lvl2pPr>
            <a:lvl3pPr>
              <a:defRPr>
                <a:latin typeface="+mn-lt"/>
                <a:cs typeface="Univers for KPMG Light"/>
              </a:defRPr>
            </a:lvl3pPr>
            <a:lvl4pPr>
              <a:defRPr>
                <a:latin typeface="+mn-lt"/>
                <a:cs typeface="Univers for KPMG Light"/>
              </a:defRPr>
            </a:lvl4pPr>
            <a:lvl5pPr>
              <a:defRPr>
                <a:latin typeface="+mn-lt"/>
                <a:cs typeface="Univers for KPMG Ligh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7" name="Title 1"/>
          <p:cNvSpPr>
            <a:spLocks noGrp="1"/>
          </p:cNvSpPr>
          <p:nvPr>
            <p:ph type="title"/>
          </p:nvPr>
        </p:nvSpPr>
        <p:spPr>
          <a:xfrm>
            <a:off x="996951" y="538843"/>
            <a:ext cx="10176935" cy="704858"/>
          </a:xfrm>
        </p:spPr>
        <p:txBody>
          <a:bodyPr/>
          <a:lstStyle/>
          <a:p>
            <a:r>
              <a:rPr lang="en-US" noProof="0" smtClean="0"/>
              <a:t>Click to edit Master title style</a:t>
            </a:r>
            <a:endParaRPr lang="en-CA" noProof="0" dirty="0"/>
          </a:p>
        </p:txBody>
      </p:sp>
    </p:spTree>
    <p:extLst>
      <p:ext uri="{BB962C8B-B14F-4D97-AF65-F5344CB8AC3E}">
        <p14:creationId xmlns:p14="http://schemas.microsoft.com/office/powerpoint/2010/main" val="29411039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noProof="0" smtClean="0"/>
              <a:t>Click to edit Master title style</a:t>
            </a:r>
            <a:endParaRPr lang="en-CA" noProof="0" dirty="0"/>
          </a:p>
        </p:txBody>
      </p:sp>
      <p:sp>
        <p:nvSpPr>
          <p:cNvPr id="14" name="Text Placeholder 7"/>
          <p:cNvSpPr>
            <a:spLocks noGrp="1"/>
          </p:cNvSpPr>
          <p:nvPr>
            <p:ph type="body" sz="quarter" idx="11"/>
          </p:nvPr>
        </p:nvSpPr>
        <p:spPr>
          <a:xfrm>
            <a:off x="996951" y="1526721"/>
            <a:ext cx="4876800" cy="4378779"/>
          </a:xfrm>
          <a:prstGeom prst="rect">
            <a:avLst/>
          </a:prstGeom>
        </p:spPr>
        <p:txBody>
          <a:bodyPr vert="horz" lIns="0" tIns="0" rIns="0" bIns="0">
            <a:noAutofit/>
          </a:bodyPr>
          <a:lstStyle>
            <a:lvl1pPr>
              <a:defRPr b="1" i="0">
                <a:solidFill>
                  <a:schemeClr val="tx2"/>
                </a:solidFill>
                <a:latin typeface="Univers for KPMG"/>
                <a:cs typeface="Univers for KPMG"/>
              </a:defRPr>
            </a:lvl1pPr>
            <a:lvl2pPr>
              <a:defRPr b="0" i="0">
                <a:solidFill>
                  <a:schemeClr val="tx2"/>
                </a:solidFill>
                <a:latin typeface="+mn-lt"/>
                <a:cs typeface="Univers for KPMG Light" panose="020B0403020202020204" pitchFamily="34" charset="0"/>
              </a:defRPr>
            </a:lvl2pPr>
            <a:lvl3pPr>
              <a:defRPr b="0" i="0">
                <a:solidFill>
                  <a:schemeClr val="tx2"/>
                </a:solidFill>
                <a:latin typeface="+mn-lt"/>
                <a:cs typeface="Univers for KPMG Light" panose="020B0403020202020204" pitchFamily="34" charset="0"/>
              </a:defRPr>
            </a:lvl3pPr>
            <a:lvl4pPr>
              <a:defRPr b="0" i="0">
                <a:solidFill>
                  <a:schemeClr val="tx2"/>
                </a:solidFill>
                <a:latin typeface="+mn-lt"/>
                <a:cs typeface="Univers for KPMG Light" panose="020B0403020202020204" pitchFamily="34" charset="0"/>
              </a:defRPr>
            </a:lvl4pPr>
            <a:lvl5pPr>
              <a:defRPr lang="en-US" sz="1100" b="0" i="0" kern="1200" dirty="0" smtClean="0">
                <a:solidFill>
                  <a:schemeClr val="tx2"/>
                </a:solidFill>
                <a:latin typeface="+mn-lt"/>
                <a:ea typeface="+mn-ea"/>
                <a:cs typeface="Univers for KPMG Light" panose="020B0403020202020204"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5" name="Chart Placeholder 4"/>
          <p:cNvSpPr>
            <a:spLocks noGrp="1"/>
          </p:cNvSpPr>
          <p:nvPr>
            <p:ph type="chart" sz="quarter" idx="13"/>
          </p:nvPr>
        </p:nvSpPr>
        <p:spPr>
          <a:xfrm>
            <a:off x="6295928" y="1524001"/>
            <a:ext cx="4877957" cy="4381500"/>
          </a:xfrm>
          <a:prstGeom prst="rect">
            <a:avLst/>
          </a:prstGeom>
        </p:spPr>
        <p:txBody>
          <a:bodyPr lIns="0" tIns="0" rIns="0" bIns="0"/>
          <a:lstStyle>
            <a:lvl1pPr>
              <a:defRPr>
                <a:solidFill>
                  <a:srgbClr val="00338D"/>
                </a:solidFill>
                <a:latin typeface="Univers for KPMG" panose="020B0603020202020204" pitchFamily="34" charset="0"/>
                <a:cs typeface="Univers for KPMG" panose="020B0603020202020204" pitchFamily="34" charset="0"/>
              </a:defRPr>
            </a:lvl1pPr>
          </a:lstStyle>
          <a:p>
            <a:r>
              <a:rPr lang="en-US" noProof="0" smtClean="0"/>
              <a:t>Click icon to add chart</a:t>
            </a:r>
            <a:endParaRPr lang="en-CA" noProof="0" dirty="0"/>
          </a:p>
        </p:txBody>
      </p:sp>
    </p:spTree>
    <p:extLst>
      <p:ext uri="{BB962C8B-B14F-4D97-AF65-F5344CB8AC3E}">
        <p14:creationId xmlns:p14="http://schemas.microsoft.com/office/powerpoint/2010/main" val="356236388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CA" noProof="0" dirty="0"/>
          </a:p>
        </p:txBody>
      </p:sp>
      <p:sp>
        <p:nvSpPr>
          <p:cNvPr id="5" name="Chart Placeholder 4"/>
          <p:cNvSpPr>
            <a:spLocks noGrp="1"/>
          </p:cNvSpPr>
          <p:nvPr>
            <p:ph type="chart" sz="quarter" idx="12"/>
          </p:nvPr>
        </p:nvSpPr>
        <p:spPr>
          <a:xfrm>
            <a:off x="1016002" y="1526719"/>
            <a:ext cx="10181167" cy="2340431"/>
          </a:xfrm>
          <a:prstGeom prst="rect">
            <a:avLst/>
          </a:prstGeom>
        </p:spPr>
        <p:txBody>
          <a:bodyPr lIns="0" tIns="0" rIns="0" bIns="0"/>
          <a:lstStyle>
            <a:lvl1pPr>
              <a:defRPr sz="1400">
                <a:solidFill>
                  <a:srgbClr val="00338D"/>
                </a:solidFill>
                <a:latin typeface="Univers for KPMG" panose="020B0603020202020204" pitchFamily="34" charset="0"/>
                <a:cs typeface="Univers for KPMG" panose="020B0603020202020204" pitchFamily="34" charset="0"/>
              </a:defRPr>
            </a:lvl1pPr>
          </a:lstStyle>
          <a:p>
            <a:r>
              <a:rPr lang="en-US" noProof="0" smtClean="0"/>
              <a:t>Click icon to add chart</a:t>
            </a:r>
            <a:endParaRPr lang="en-CA" noProof="0" dirty="0"/>
          </a:p>
        </p:txBody>
      </p:sp>
      <p:sp>
        <p:nvSpPr>
          <p:cNvPr id="7" name="Text Placeholder 7"/>
          <p:cNvSpPr>
            <a:spLocks noGrp="1"/>
          </p:cNvSpPr>
          <p:nvPr>
            <p:ph type="body" sz="quarter" idx="13"/>
          </p:nvPr>
        </p:nvSpPr>
        <p:spPr>
          <a:xfrm>
            <a:off x="1016002" y="4057651"/>
            <a:ext cx="10181167" cy="1847850"/>
          </a:xfrm>
          <a:prstGeom prst="rect">
            <a:avLst/>
          </a:prstGeom>
        </p:spPr>
        <p:txBody>
          <a:bodyPr vert="horz" lIns="0" tIns="0" rIns="0" bIns="0"/>
          <a:lstStyle>
            <a:lvl1pPr>
              <a:defRPr b="1" i="0">
                <a:solidFill>
                  <a:schemeClr val="tx2"/>
                </a:solidFill>
                <a:latin typeface="Univers for KPMG"/>
                <a:cs typeface="Univers for KPMG"/>
              </a:defRPr>
            </a:lvl1pPr>
            <a:lvl2pPr marL="244291" indent="-244291">
              <a:defRPr>
                <a:solidFill>
                  <a:schemeClr val="tx2"/>
                </a:solidFill>
                <a:latin typeface="+mn-lt"/>
                <a:cs typeface="Univers for KPMG Light"/>
              </a:defRPr>
            </a:lvl2pPr>
            <a:lvl3pPr marL="0" indent="244291">
              <a:defRPr>
                <a:solidFill>
                  <a:schemeClr val="tx2"/>
                </a:solidFill>
                <a:latin typeface="+mn-lt"/>
                <a:cs typeface="Univers for KPMG Light"/>
              </a:defRPr>
            </a:lvl3pPr>
            <a:lvl4pPr>
              <a:defRPr>
                <a:solidFill>
                  <a:schemeClr val="tx2"/>
                </a:solidFill>
                <a:latin typeface="+mn-lt"/>
                <a:cs typeface="Univers for KPMG Light"/>
              </a:defRPr>
            </a:lvl4pPr>
            <a:lvl5pPr>
              <a:defRPr lang="en-US" sz="1100" kern="1200" dirty="0" smtClean="0">
                <a:solidFill>
                  <a:schemeClr val="tx2"/>
                </a:solidFill>
                <a:latin typeface="+mn-lt"/>
                <a:ea typeface="+mn-ea"/>
                <a:cs typeface="Univers for KPMG Ligh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Tree>
    <p:extLst>
      <p:ext uri="{BB962C8B-B14F-4D97-AF65-F5344CB8AC3E}">
        <p14:creationId xmlns:p14="http://schemas.microsoft.com/office/powerpoint/2010/main" val="13143559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CA" noProof="0" dirty="0"/>
          </a:p>
        </p:txBody>
      </p:sp>
      <p:sp>
        <p:nvSpPr>
          <p:cNvPr id="4" name="Chart Placeholder 4"/>
          <p:cNvSpPr>
            <a:spLocks noGrp="1"/>
          </p:cNvSpPr>
          <p:nvPr>
            <p:ph type="chart" sz="quarter" idx="12"/>
          </p:nvPr>
        </p:nvSpPr>
        <p:spPr>
          <a:xfrm>
            <a:off x="1016002" y="1533975"/>
            <a:ext cx="3140364" cy="2028375"/>
          </a:xfrm>
          <a:prstGeom prst="rect">
            <a:avLst/>
          </a:prstGeom>
        </p:spPr>
        <p:txBody>
          <a:bodyPr lIns="0" tIns="0" rIns="0" bIns="0"/>
          <a:lstStyle>
            <a:lvl1pPr>
              <a:defRPr sz="1400">
                <a:latin typeface="Univers for KPMG" panose="020B0603020202020204" pitchFamily="34" charset="0"/>
                <a:cs typeface="Univers for KPMG" panose="020B0603020202020204" pitchFamily="34" charset="0"/>
              </a:defRPr>
            </a:lvl1pPr>
          </a:lstStyle>
          <a:p>
            <a:r>
              <a:rPr lang="en-US" noProof="0" smtClean="0"/>
              <a:t>Click icon to add chart</a:t>
            </a:r>
            <a:endParaRPr lang="en-CA" noProof="0" dirty="0"/>
          </a:p>
        </p:txBody>
      </p:sp>
      <p:sp>
        <p:nvSpPr>
          <p:cNvPr id="10" name="Chart Placeholder 4"/>
          <p:cNvSpPr>
            <a:spLocks noGrp="1"/>
          </p:cNvSpPr>
          <p:nvPr>
            <p:ph type="chart" sz="quarter" idx="13"/>
          </p:nvPr>
        </p:nvSpPr>
        <p:spPr>
          <a:xfrm>
            <a:off x="4538250" y="1533975"/>
            <a:ext cx="3136669" cy="2028375"/>
          </a:xfrm>
          <a:prstGeom prst="rect">
            <a:avLst/>
          </a:prstGeom>
        </p:spPr>
        <p:txBody>
          <a:bodyPr lIns="0" tIns="0" rIns="0" bIns="0"/>
          <a:lstStyle>
            <a:lvl1pPr>
              <a:defRPr sz="1400">
                <a:latin typeface="Univers for KPMG" panose="020B0603020202020204" pitchFamily="34" charset="0"/>
                <a:cs typeface="Univers for KPMG" panose="020B0603020202020204" pitchFamily="34" charset="0"/>
              </a:defRPr>
            </a:lvl1pPr>
          </a:lstStyle>
          <a:p>
            <a:r>
              <a:rPr lang="en-US" noProof="0" smtClean="0"/>
              <a:t>Click icon to add chart</a:t>
            </a:r>
            <a:endParaRPr lang="en-CA" noProof="0" dirty="0"/>
          </a:p>
        </p:txBody>
      </p:sp>
      <p:sp>
        <p:nvSpPr>
          <p:cNvPr id="12" name="Chart Placeholder 4"/>
          <p:cNvSpPr>
            <a:spLocks noGrp="1"/>
          </p:cNvSpPr>
          <p:nvPr>
            <p:ph type="chart" sz="quarter" idx="14"/>
          </p:nvPr>
        </p:nvSpPr>
        <p:spPr>
          <a:xfrm>
            <a:off x="8056806" y="1533975"/>
            <a:ext cx="3140364" cy="2028375"/>
          </a:xfrm>
          <a:prstGeom prst="rect">
            <a:avLst/>
          </a:prstGeom>
        </p:spPr>
        <p:txBody>
          <a:bodyPr lIns="0" tIns="0" rIns="0" bIns="0"/>
          <a:lstStyle>
            <a:lvl1pPr>
              <a:defRPr sz="1400">
                <a:latin typeface="Univers for KPMG" panose="020B0603020202020204" pitchFamily="34" charset="0"/>
                <a:cs typeface="Univers for KPMG" panose="020B0603020202020204" pitchFamily="34" charset="0"/>
              </a:defRPr>
            </a:lvl1pPr>
          </a:lstStyle>
          <a:p>
            <a:r>
              <a:rPr lang="en-US" noProof="0" smtClean="0"/>
              <a:t>Click icon to add chart</a:t>
            </a:r>
            <a:endParaRPr lang="en-CA" noProof="0" dirty="0"/>
          </a:p>
        </p:txBody>
      </p:sp>
      <p:sp>
        <p:nvSpPr>
          <p:cNvPr id="9" name="Text Placeholder 7"/>
          <p:cNvSpPr>
            <a:spLocks noGrp="1"/>
          </p:cNvSpPr>
          <p:nvPr>
            <p:ph type="body" sz="quarter" idx="15"/>
          </p:nvPr>
        </p:nvSpPr>
        <p:spPr>
          <a:xfrm>
            <a:off x="1016002" y="3781425"/>
            <a:ext cx="3140364" cy="2124075"/>
          </a:xfrm>
          <a:prstGeom prst="rect">
            <a:avLst/>
          </a:prstGeom>
        </p:spPr>
        <p:txBody>
          <a:bodyPr vert="horz" lIns="0" tIns="0" rIns="0" bIns="0"/>
          <a:lstStyle>
            <a:lvl1pPr>
              <a:defRPr sz="1600" b="1" i="0">
                <a:latin typeface="Univers for KPMG"/>
                <a:cs typeface="Univers for KPMG"/>
              </a:defRPr>
            </a:lvl1pPr>
            <a:lvl2pPr>
              <a:defRPr>
                <a:latin typeface="+mn-lt"/>
                <a:cs typeface="Univers for KPMG Light"/>
              </a:defRPr>
            </a:lvl2pPr>
            <a:lvl3pPr>
              <a:defRPr>
                <a:latin typeface="+mn-lt"/>
                <a:cs typeface="Univers for KPMG Light"/>
              </a:defRPr>
            </a:lvl3pPr>
            <a:lvl4pPr>
              <a:defRPr>
                <a:latin typeface="+mn-lt"/>
                <a:cs typeface="Univers for KPMG Light"/>
              </a:defRPr>
            </a:lvl4pPr>
            <a:lvl5pPr>
              <a:defRPr sz="1100">
                <a:latin typeface="+mn-lt"/>
                <a:cs typeface="Univers for KPMG Ligh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1" name="Text Placeholder 7"/>
          <p:cNvSpPr>
            <a:spLocks noGrp="1"/>
          </p:cNvSpPr>
          <p:nvPr>
            <p:ph type="body" sz="quarter" idx="16"/>
          </p:nvPr>
        </p:nvSpPr>
        <p:spPr>
          <a:xfrm>
            <a:off x="4538250" y="3781425"/>
            <a:ext cx="3136669" cy="2124075"/>
          </a:xfrm>
          <a:prstGeom prst="rect">
            <a:avLst/>
          </a:prstGeom>
        </p:spPr>
        <p:txBody>
          <a:bodyPr vert="horz" lIns="0" tIns="0" rIns="0" bIns="0"/>
          <a:lstStyle>
            <a:lvl1pPr>
              <a:defRPr sz="1600" b="1" i="0">
                <a:latin typeface="Univers for KPMG"/>
                <a:cs typeface="Univers for KPMG"/>
              </a:defRPr>
            </a:lvl1pPr>
            <a:lvl2pPr>
              <a:defRPr>
                <a:latin typeface="+mn-lt"/>
                <a:cs typeface="Univers for KPMG Light"/>
              </a:defRPr>
            </a:lvl2pPr>
            <a:lvl3pPr>
              <a:defRPr>
                <a:latin typeface="+mn-lt"/>
                <a:cs typeface="Univers for KPMG Light"/>
              </a:defRPr>
            </a:lvl3pPr>
            <a:lvl4pPr>
              <a:defRPr>
                <a:latin typeface="+mn-lt"/>
                <a:cs typeface="Univers for KPMG Light"/>
              </a:defRPr>
            </a:lvl4pPr>
            <a:lvl5pPr>
              <a:defRPr sz="1100">
                <a:latin typeface="+mn-lt"/>
                <a:cs typeface="Univers for KPMG Ligh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6" name="Text Placeholder 7"/>
          <p:cNvSpPr>
            <a:spLocks noGrp="1"/>
          </p:cNvSpPr>
          <p:nvPr>
            <p:ph type="body" sz="quarter" idx="17"/>
          </p:nvPr>
        </p:nvSpPr>
        <p:spPr>
          <a:xfrm>
            <a:off x="8056806" y="3781425"/>
            <a:ext cx="3140364" cy="2124075"/>
          </a:xfrm>
          <a:prstGeom prst="rect">
            <a:avLst/>
          </a:prstGeom>
        </p:spPr>
        <p:txBody>
          <a:bodyPr vert="horz" lIns="0" tIns="0" rIns="0" bIns="0"/>
          <a:lstStyle>
            <a:lvl1pPr>
              <a:defRPr sz="1600" b="1" i="0">
                <a:solidFill>
                  <a:srgbClr val="00338D"/>
                </a:solidFill>
                <a:latin typeface="Univers for KPMG"/>
                <a:cs typeface="Univers for KPMG"/>
              </a:defRPr>
            </a:lvl1pPr>
            <a:lvl2pPr>
              <a:defRPr>
                <a:solidFill>
                  <a:srgbClr val="00338D"/>
                </a:solidFill>
                <a:latin typeface="+mn-lt"/>
                <a:cs typeface="Univers for KPMG Light"/>
              </a:defRPr>
            </a:lvl2pPr>
            <a:lvl3pPr>
              <a:defRPr>
                <a:solidFill>
                  <a:srgbClr val="00338D"/>
                </a:solidFill>
                <a:latin typeface="+mn-lt"/>
                <a:cs typeface="Univers for KPMG Light"/>
              </a:defRPr>
            </a:lvl3pPr>
            <a:lvl4pPr>
              <a:defRPr>
                <a:solidFill>
                  <a:srgbClr val="00338D"/>
                </a:solidFill>
                <a:latin typeface="+mn-lt"/>
                <a:cs typeface="Univers for KPMG Light"/>
              </a:defRPr>
            </a:lvl4pPr>
            <a:lvl5pPr>
              <a:defRPr sz="1100">
                <a:latin typeface="+mn-lt"/>
                <a:cs typeface="Univers for KPMG Ligh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Tree>
    <p:extLst>
      <p:ext uri="{BB962C8B-B14F-4D97-AF65-F5344CB8AC3E}">
        <p14:creationId xmlns:p14="http://schemas.microsoft.com/office/powerpoint/2010/main" val="241138112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ocess 4 Column">
    <p:spTree>
      <p:nvGrpSpPr>
        <p:cNvPr id="1" name=""/>
        <p:cNvGrpSpPr/>
        <p:nvPr/>
      </p:nvGrpSpPr>
      <p:grpSpPr>
        <a:xfrm>
          <a:off x="0" y="0"/>
          <a:ext cx="0" cy="0"/>
          <a:chOff x="0" y="0"/>
          <a:chExt cx="0" cy="0"/>
        </a:xfrm>
      </p:grpSpPr>
      <p:sp>
        <p:nvSpPr>
          <p:cNvPr id="3" name="Text Placeholder 20"/>
          <p:cNvSpPr>
            <a:spLocks noGrp="1"/>
          </p:cNvSpPr>
          <p:nvPr>
            <p:ph type="body" sz="quarter" idx="27"/>
          </p:nvPr>
        </p:nvSpPr>
        <p:spPr bwMode="gray">
          <a:xfrm>
            <a:off x="3633738" y="1533975"/>
            <a:ext cx="2338573" cy="605119"/>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lvl1pPr marL="0" algn="l" defTabSz="977165" rtl="0" eaLnBrk="1" latinLnBrk="0" hangingPunct="1">
              <a:lnSpc>
                <a:spcPct val="90000"/>
              </a:lnSpc>
              <a:spcBef>
                <a:spcPts val="0"/>
              </a:spcBef>
              <a:defRPr lang="en-US" sz="16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4" name="Text Placeholder 20"/>
          <p:cNvSpPr>
            <a:spLocks noGrp="1"/>
          </p:cNvSpPr>
          <p:nvPr>
            <p:ph type="body" sz="quarter" idx="26"/>
          </p:nvPr>
        </p:nvSpPr>
        <p:spPr bwMode="gray">
          <a:xfrm>
            <a:off x="996759" y="1533975"/>
            <a:ext cx="2338573" cy="605119"/>
          </a:xfrm>
          <a:prstGeom prst="homePlate">
            <a:avLst>
              <a:gd name="adj" fmla="val 34577"/>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lvl1pPr marL="0" algn="l" defTabSz="977165" rtl="0" eaLnBrk="1" latinLnBrk="0" hangingPunct="1">
              <a:lnSpc>
                <a:spcPct val="90000"/>
              </a:lnSpc>
              <a:spcBef>
                <a:spcPts val="0"/>
              </a:spcBef>
              <a:defRPr lang="en-US" sz="16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5" name="Text Placeholder 9"/>
          <p:cNvSpPr>
            <a:spLocks noGrp="1"/>
          </p:cNvSpPr>
          <p:nvPr>
            <p:ph type="body" sz="quarter" idx="11"/>
          </p:nvPr>
        </p:nvSpPr>
        <p:spPr bwMode="gray">
          <a:xfrm>
            <a:off x="996759" y="2220769"/>
            <a:ext cx="2318647" cy="3684731"/>
          </a:xfrm>
          <a:prstGeom prst="rect">
            <a:avLst/>
          </a:prstGeom>
        </p:spPr>
        <p:txBody>
          <a:bodyPr lIns="0" tIns="36645" rIns="0" bIns="0"/>
          <a:lstStyle>
            <a:lvl1pPr>
              <a:defRPr sz="1600">
                <a:latin typeface="Univers for KPMG" panose="020B0603020202020204" pitchFamily="34" charset="0"/>
                <a:cs typeface="Univers for KPMG Light"/>
              </a:defRPr>
            </a:lvl1pPr>
            <a:lvl2pPr marL="0" indent="0">
              <a:spcBef>
                <a:spcPts val="600"/>
              </a:spcBef>
              <a:defRPr sz="1400">
                <a:latin typeface="+mn-lt"/>
                <a:cs typeface="Univers for KPMG Light" panose="020B0403020202020204" pitchFamily="34" charset="0"/>
              </a:defRPr>
            </a:lvl2pPr>
            <a:lvl3pPr marL="270000" indent="-270000">
              <a:spcBef>
                <a:spcPts val="300"/>
              </a:spcBef>
              <a:defRPr sz="1200">
                <a:latin typeface="+mn-lt"/>
                <a:cs typeface="Univers for KPMG Light" panose="020B0403020202020204" pitchFamily="34" charset="0"/>
              </a:defRPr>
            </a:lvl3pPr>
            <a:lvl4pPr marL="628650" indent="-268288">
              <a:spcBef>
                <a:spcPts val="300"/>
              </a:spcBef>
              <a:defRPr sz="1100">
                <a:latin typeface="+mn-lt"/>
                <a:cs typeface="Univers for KPMG Light" panose="020B0403020202020204" pitchFamily="34" charset="0"/>
              </a:defRPr>
            </a:lvl4pPr>
            <a:lvl5pPr marL="990600" indent="-269875">
              <a:spcBef>
                <a:spcPts val="300"/>
              </a:spcBef>
              <a:defRPr sz="1000">
                <a:latin typeface="+mn-lt"/>
                <a:cs typeface="Univers for KPMG Light" panose="020B0403020202020204" pitchFamily="34" charset="0"/>
              </a:defRPr>
            </a:lvl5pPr>
            <a:lvl6pPr>
              <a:defRPr baseline="0"/>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6" name="Text Placeholder 9"/>
          <p:cNvSpPr>
            <a:spLocks noGrp="1"/>
          </p:cNvSpPr>
          <p:nvPr>
            <p:ph type="body" sz="quarter" idx="30"/>
          </p:nvPr>
        </p:nvSpPr>
        <p:spPr bwMode="gray">
          <a:xfrm>
            <a:off x="3659724" y="2220769"/>
            <a:ext cx="2276217" cy="3684731"/>
          </a:xfrm>
          <a:prstGeom prst="rect">
            <a:avLst/>
          </a:prstGeom>
        </p:spPr>
        <p:txBody>
          <a:bodyPr lIns="0" tIns="36645" rIns="0" bIns="0"/>
          <a:lstStyle>
            <a:lvl1pPr>
              <a:defRPr sz="1600">
                <a:latin typeface="Univers for KPMG" panose="020B0603020202020204" pitchFamily="34" charset="0"/>
                <a:cs typeface="Univers for KPMG Light"/>
              </a:defRPr>
            </a:lvl1pPr>
            <a:lvl2pPr marL="0" indent="0">
              <a:spcBef>
                <a:spcPts val="600"/>
              </a:spcBef>
              <a:defRPr sz="1400">
                <a:latin typeface="+mn-lt"/>
                <a:cs typeface="Univers for KPMG Light" panose="020B0403020202020204" pitchFamily="34" charset="0"/>
              </a:defRPr>
            </a:lvl2pPr>
            <a:lvl3pPr marL="270000" indent="-270000">
              <a:spcBef>
                <a:spcPts val="300"/>
              </a:spcBef>
              <a:defRPr sz="1200">
                <a:latin typeface="+mn-lt"/>
                <a:cs typeface="Univers for KPMG Light" panose="020B0403020202020204" pitchFamily="34" charset="0"/>
              </a:defRPr>
            </a:lvl3pPr>
            <a:lvl4pPr marL="628650" indent="-268288">
              <a:spcBef>
                <a:spcPts val="300"/>
              </a:spcBef>
              <a:defRPr sz="1100">
                <a:latin typeface="+mn-lt"/>
                <a:cs typeface="Univers for KPMG Light" panose="020B0403020202020204" pitchFamily="34" charset="0"/>
              </a:defRPr>
            </a:lvl4pPr>
            <a:lvl5pPr marL="990600" indent="-269875">
              <a:spcBef>
                <a:spcPts val="300"/>
              </a:spcBef>
              <a:defRPr sz="1000">
                <a:latin typeface="+mn-lt"/>
                <a:cs typeface="Univers for KPMG Light" panose="020B0403020202020204" pitchFamily="34" charset="0"/>
              </a:defRPr>
            </a:lvl5pPr>
            <a:lvl6pPr>
              <a:defRPr baseline="0"/>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7" name="Text Placeholder 9"/>
          <p:cNvSpPr>
            <a:spLocks noGrp="1"/>
          </p:cNvSpPr>
          <p:nvPr>
            <p:ph type="body" sz="quarter" idx="31"/>
          </p:nvPr>
        </p:nvSpPr>
        <p:spPr bwMode="gray">
          <a:xfrm>
            <a:off x="6280259" y="2220769"/>
            <a:ext cx="2283116" cy="3684731"/>
          </a:xfrm>
          <a:prstGeom prst="rect">
            <a:avLst/>
          </a:prstGeom>
        </p:spPr>
        <p:txBody>
          <a:bodyPr lIns="0" tIns="36645" rIns="0" bIns="0"/>
          <a:lstStyle>
            <a:lvl1pPr>
              <a:defRPr sz="1600">
                <a:latin typeface="Univers for KPMG" panose="020B0603020202020204" pitchFamily="34" charset="0"/>
                <a:cs typeface="Univers for KPMG Light"/>
              </a:defRPr>
            </a:lvl1pPr>
            <a:lvl2pPr marL="0" indent="0">
              <a:spcBef>
                <a:spcPts val="600"/>
              </a:spcBef>
              <a:defRPr sz="1400">
                <a:latin typeface="+mn-lt"/>
                <a:cs typeface="Univers for KPMG Light" panose="020B0403020202020204" pitchFamily="34" charset="0"/>
              </a:defRPr>
            </a:lvl2pPr>
            <a:lvl3pPr marL="270000" indent="-270000">
              <a:spcBef>
                <a:spcPts val="300"/>
              </a:spcBef>
              <a:defRPr sz="1200">
                <a:latin typeface="+mn-lt"/>
                <a:cs typeface="Univers for KPMG Light" panose="020B0403020202020204" pitchFamily="34" charset="0"/>
              </a:defRPr>
            </a:lvl3pPr>
            <a:lvl4pPr marL="628650" indent="-268288">
              <a:spcBef>
                <a:spcPts val="300"/>
              </a:spcBef>
              <a:defRPr sz="1100">
                <a:latin typeface="+mn-lt"/>
                <a:cs typeface="Univers for KPMG Light" panose="020B0403020202020204" pitchFamily="34" charset="0"/>
              </a:defRPr>
            </a:lvl4pPr>
            <a:lvl5pPr marL="990600" indent="-269875">
              <a:spcBef>
                <a:spcPts val="300"/>
              </a:spcBef>
              <a:defRPr sz="1000">
                <a:latin typeface="+mn-lt"/>
                <a:cs typeface="Univers for KPMG Light" panose="020B0403020202020204" pitchFamily="34" charset="0"/>
              </a:defRPr>
            </a:lvl5pPr>
            <a:lvl6pPr>
              <a:defRPr baseline="0"/>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8" name="Text Placeholder 9"/>
          <p:cNvSpPr>
            <a:spLocks noGrp="1"/>
          </p:cNvSpPr>
          <p:nvPr>
            <p:ph type="body" sz="quarter" idx="32"/>
          </p:nvPr>
        </p:nvSpPr>
        <p:spPr bwMode="gray">
          <a:xfrm>
            <a:off x="8907692" y="2220769"/>
            <a:ext cx="2337485" cy="3684731"/>
          </a:xfrm>
          <a:prstGeom prst="rect">
            <a:avLst/>
          </a:prstGeom>
        </p:spPr>
        <p:txBody>
          <a:bodyPr lIns="0" tIns="36645" rIns="0" bIns="0"/>
          <a:lstStyle>
            <a:lvl1pPr>
              <a:defRPr sz="1600">
                <a:latin typeface="Univers for KPMG" panose="020B0603020202020204" pitchFamily="34" charset="0"/>
                <a:cs typeface="Univers for KPMG Light"/>
              </a:defRPr>
            </a:lvl1pPr>
            <a:lvl2pPr marL="0" indent="0">
              <a:spcBef>
                <a:spcPts val="600"/>
              </a:spcBef>
              <a:defRPr sz="1400">
                <a:latin typeface="+mn-lt"/>
                <a:cs typeface="Univers for KPMG Light" panose="020B0403020202020204" pitchFamily="34" charset="0"/>
              </a:defRPr>
            </a:lvl2pPr>
            <a:lvl3pPr marL="270000" indent="-270000">
              <a:spcBef>
                <a:spcPts val="300"/>
              </a:spcBef>
              <a:defRPr sz="1200">
                <a:latin typeface="+mn-lt"/>
                <a:cs typeface="Univers for KPMG Light" panose="020B0403020202020204" pitchFamily="34" charset="0"/>
              </a:defRPr>
            </a:lvl3pPr>
            <a:lvl4pPr marL="628650" indent="-268288">
              <a:spcBef>
                <a:spcPts val="300"/>
              </a:spcBef>
              <a:defRPr sz="1100">
                <a:latin typeface="+mn-lt"/>
                <a:cs typeface="Univers for KPMG Light" panose="020B0403020202020204" pitchFamily="34" charset="0"/>
              </a:defRPr>
            </a:lvl4pPr>
            <a:lvl5pPr marL="990600" indent="-269875">
              <a:spcBef>
                <a:spcPts val="300"/>
              </a:spcBef>
              <a:defRPr sz="1000">
                <a:latin typeface="+mn-lt"/>
                <a:cs typeface="Univers for KPMG Light" panose="020B0403020202020204" pitchFamily="34" charset="0"/>
              </a:defRPr>
            </a:lvl5pPr>
            <a:lvl6pPr>
              <a:defRPr baseline="0"/>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9" name="Text Placeholder 20"/>
          <p:cNvSpPr>
            <a:spLocks noGrp="1"/>
          </p:cNvSpPr>
          <p:nvPr>
            <p:ph type="body" sz="quarter" idx="33"/>
          </p:nvPr>
        </p:nvSpPr>
        <p:spPr bwMode="gray">
          <a:xfrm>
            <a:off x="6270715" y="1533975"/>
            <a:ext cx="2338573" cy="605119"/>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lvl1pPr marL="0" algn="l" defTabSz="977165" rtl="0" eaLnBrk="1" latinLnBrk="0" hangingPunct="1">
              <a:lnSpc>
                <a:spcPct val="90000"/>
              </a:lnSpc>
              <a:spcBef>
                <a:spcPts val="0"/>
              </a:spcBef>
              <a:defRPr lang="en-US" sz="16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10" name="Text Placeholder 20"/>
          <p:cNvSpPr>
            <a:spLocks noGrp="1"/>
          </p:cNvSpPr>
          <p:nvPr>
            <p:ph type="body" sz="quarter" idx="34"/>
          </p:nvPr>
        </p:nvSpPr>
        <p:spPr bwMode="gray">
          <a:xfrm>
            <a:off x="8907692" y="1533975"/>
            <a:ext cx="2338573" cy="605119"/>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lvl1pPr marL="0" algn="l" defTabSz="977165" rtl="0" eaLnBrk="1" latinLnBrk="0" hangingPunct="1">
              <a:lnSpc>
                <a:spcPct val="90000"/>
              </a:lnSpc>
              <a:spcBef>
                <a:spcPts val="0"/>
              </a:spcBef>
              <a:defRPr lang="en-US" sz="16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11" name="Title 1"/>
          <p:cNvSpPr>
            <a:spLocks noGrp="1"/>
          </p:cNvSpPr>
          <p:nvPr>
            <p:ph type="title"/>
          </p:nvPr>
        </p:nvSpPr>
        <p:spPr>
          <a:xfrm>
            <a:off x="996951" y="538843"/>
            <a:ext cx="10176935" cy="704858"/>
          </a:xfrm>
        </p:spPr>
        <p:txBody>
          <a:bodyPr/>
          <a:lstStyle/>
          <a:p>
            <a:r>
              <a:rPr lang="en-US" noProof="0" smtClean="0"/>
              <a:t>Click to edit Master title style</a:t>
            </a:r>
            <a:endParaRPr lang="en-CA" noProof="0" dirty="0"/>
          </a:p>
        </p:txBody>
      </p:sp>
    </p:spTree>
    <p:extLst>
      <p:ext uri="{BB962C8B-B14F-4D97-AF65-F5344CB8AC3E}">
        <p14:creationId xmlns:p14="http://schemas.microsoft.com/office/powerpoint/2010/main" val="275267300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cess 5 Column">
    <p:spTree>
      <p:nvGrpSpPr>
        <p:cNvPr id="1" name=""/>
        <p:cNvGrpSpPr/>
        <p:nvPr/>
      </p:nvGrpSpPr>
      <p:grpSpPr>
        <a:xfrm>
          <a:off x="0" y="0"/>
          <a:ext cx="0" cy="0"/>
          <a:chOff x="0" y="0"/>
          <a:chExt cx="0" cy="0"/>
        </a:xfrm>
      </p:grpSpPr>
      <p:sp>
        <p:nvSpPr>
          <p:cNvPr id="11" name="Text Placeholder 20"/>
          <p:cNvSpPr>
            <a:spLocks noGrp="1"/>
          </p:cNvSpPr>
          <p:nvPr>
            <p:ph type="body" sz="quarter" idx="27"/>
          </p:nvPr>
        </p:nvSpPr>
        <p:spPr bwMode="gray">
          <a:xfrm>
            <a:off x="3085155" y="1533975"/>
            <a:ext cx="1884944" cy="72345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lvl1pPr marL="0" algn="l" defTabSz="977165" rtl="0" eaLnBrk="1" latinLnBrk="0" hangingPunct="1">
              <a:lnSpc>
                <a:spcPct val="90000"/>
              </a:lnSpc>
              <a:spcBef>
                <a:spcPts val="0"/>
              </a:spcBef>
              <a:defRPr lang="en-US" sz="16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12" name="Text Placeholder 20"/>
          <p:cNvSpPr>
            <a:spLocks noGrp="1"/>
          </p:cNvSpPr>
          <p:nvPr>
            <p:ph type="body" sz="quarter" idx="26"/>
          </p:nvPr>
        </p:nvSpPr>
        <p:spPr bwMode="gray">
          <a:xfrm>
            <a:off x="1006441" y="1533975"/>
            <a:ext cx="1887967" cy="723450"/>
          </a:xfrm>
          <a:prstGeom prst="homePlate">
            <a:avLst>
              <a:gd name="adj" fmla="val 34577"/>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lvl1pPr marL="0" indent="0" algn="l" defTabSz="977165" rtl="0" eaLnBrk="1" latinLnBrk="0" hangingPunct="1">
              <a:lnSpc>
                <a:spcPct val="90000"/>
              </a:lnSpc>
              <a:spcBef>
                <a:spcPts val="0"/>
              </a:spcBef>
              <a:spcAft>
                <a:spcPts val="0"/>
              </a:spcAft>
              <a:defRPr lang="en-US" sz="16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13" name="Text Placeholder 20"/>
          <p:cNvSpPr>
            <a:spLocks noGrp="1"/>
          </p:cNvSpPr>
          <p:nvPr>
            <p:ph type="body" sz="quarter" idx="28"/>
          </p:nvPr>
        </p:nvSpPr>
        <p:spPr bwMode="gray">
          <a:xfrm>
            <a:off x="5163863" y="1533975"/>
            <a:ext cx="1881927" cy="72345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lvl1pPr marL="0" algn="l" defTabSz="977165" rtl="0" eaLnBrk="1" latinLnBrk="0" hangingPunct="1">
              <a:lnSpc>
                <a:spcPct val="90000"/>
              </a:lnSpc>
              <a:spcBef>
                <a:spcPts val="0"/>
              </a:spcBef>
              <a:defRPr lang="en-US" sz="16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14" name="Text Placeholder 20"/>
          <p:cNvSpPr>
            <a:spLocks noGrp="1"/>
          </p:cNvSpPr>
          <p:nvPr>
            <p:ph type="body" sz="quarter" idx="29"/>
          </p:nvPr>
        </p:nvSpPr>
        <p:spPr bwMode="gray">
          <a:xfrm>
            <a:off x="7242571" y="1533975"/>
            <a:ext cx="1878910" cy="72345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lvl1pPr marL="0" algn="l" defTabSz="977165" rtl="0" eaLnBrk="1" latinLnBrk="0" hangingPunct="1">
              <a:lnSpc>
                <a:spcPct val="90000"/>
              </a:lnSpc>
              <a:spcBef>
                <a:spcPts val="0"/>
              </a:spcBef>
              <a:defRPr lang="en-US" sz="16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15" name="Text Placeholder 20"/>
          <p:cNvSpPr>
            <a:spLocks noGrp="1"/>
          </p:cNvSpPr>
          <p:nvPr>
            <p:ph type="body" sz="quarter" idx="30"/>
          </p:nvPr>
        </p:nvSpPr>
        <p:spPr bwMode="gray">
          <a:xfrm>
            <a:off x="9321281" y="1533975"/>
            <a:ext cx="1875889" cy="72345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lvl1pPr marL="0" algn="l" defTabSz="977165" rtl="0" eaLnBrk="1" latinLnBrk="0" hangingPunct="1">
              <a:lnSpc>
                <a:spcPct val="90000"/>
              </a:lnSpc>
              <a:spcBef>
                <a:spcPts val="0"/>
              </a:spcBef>
              <a:defRPr lang="en-US" sz="16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16" name="Text Placeholder 9"/>
          <p:cNvSpPr>
            <a:spLocks noGrp="1"/>
          </p:cNvSpPr>
          <p:nvPr>
            <p:ph type="body" sz="quarter" idx="33"/>
          </p:nvPr>
        </p:nvSpPr>
        <p:spPr bwMode="gray">
          <a:xfrm>
            <a:off x="9318763" y="2319236"/>
            <a:ext cx="1878407" cy="3748190"/>
          </a:xfrm>
          <a:prstGeom prst="rect">
            <a:avLst/>
          </a:prstGeom>
        </p:spPr>
        <p:txBody>
          <a:bodyPr lIns="0" tIns="36645" rIns="0" bIns="0"/>
          <a:lstStyle>
            <a:lvl1pPr>
              <a:defRPr sz="1600">
                <a:latin typeface="Univers for KPMG" panose="020B0603020202020204" pitchFamily="34" charset="0"/>
                <a:cs typeface="Univers for KPMG Light"/>
              </a:defRPr>
            </a:lvl1pPr>
            <a:lvl2pPr marL="0" indent="0">
              <a:spcBef>
                <a:spcPts val="600"/>
              </a:spcBef>
              <a:defRPr sz="1400">
                <a:latin typeface="+mn-lt"/>
                <a:cs typeface="Univers for KPMG Light" panose="020B0403020202020204" pitchFamily="34" charset="0"/>
              </a:defRPr>
            </a:lvl2pPr>
            <a:lvl3pPr marL="270000" indent="-270000">
              <a:spcBef>
                <a:spcPts val="300"/>
              </a:spcBef>
              <a:defRPr sz="1200">
                <a:latin typeface="+mn-lt"/>
                <a:cs typeface="Univers for KPMG Light" panose="020B0403020202020204" pitchFamily="34" charset="0"/>
              </a:defRPr>
            </a:lvl3pPr>
            <a:lvl4pPr marL="628650" indent="-268288">
              <a:spcBef>
                <a:spcPts val="300"/>
              </a:spcBef>
              <a:defRPr sz="1100">
                <a:latin typeface="+mn-lt"/>
              </a:defRPr>
            </a:lvl4pPr>
            <a:lvl5pPr marL="990600" indent="-269875">
              <a:spcBef>
                <a:spcPts val="300"/>
              </a:spcBef>
              <a:defRPr sz="1000">
                <a:latin typeface="+mn-lt"/>
              </a:defRPr>
            </a:lvl5pPr>
            <a:lvl6pPr>
              <a:defRPr baseline="0"/>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7" name="Text Placeholder 9"/>
          <p:cNvSpPr>
            <a:spLocks noGrp="1"/>
          </p:cNvSpPr>
          <p:nvPr>
            <p:ph type="body" sz="quarter" idx="35"/>
          </p:nvPr>
        </p:nvSpPr>
        <p:spPr bwMode="gray">
          <a:xfrm>
            <a:off x="1016001" y="2319236"/>
            <a:ext cx="1878407" cy="3748190"/>
          </a:xfrm>
          <a:prstGeom prst="rect">
            <a:avLst/>
          </a:prstGeom>
        </p:spPr>
        <p:txBody>
          <a:bodyPr lIns="0" tIns="36645" rIns="0" bIns="0"/>
          <a:lstStyle>
            <a:lvl1pPr>
              <a:defRPr sz="1600">
                <a:latin typeface="Univers for KPMG" panose="020B0603020202020204" pitchFamily="34" charset="0"/>
                <a:cs typeface="Univers for KPMG Light"/>
              </a:defRPr>
            </a:lvl1pPr>
            <a:lvl2pPr marL="0" indent="0">
              <a:spcBef>
                <a:spcPts val="600"/>
              </a:spcBef>
              <a:defRPr sz="1400">
                <a:latin typeface="+mn-lt"/>
                <a:cs typeface="Univers for KPMG Light" panose="020B0403020202020204" pitchFamily="34" charset="0"/>
              </a:defRPr>
            </a:lvl2pPr>
            <a:lvl3pPr marL="270000" indent="-270000">
              <a:spcBef>
                <a:spcPts val="300"/>
              </a:spcBef>
              <a:defRPr sz="1200" baseline="0">
                <a:latin typeface="+mn-lt"/>
                <a:cs typeface="Univers for KPMG Light" panose="020B0403020202020204" pitchFamily="34" charset="0"/>
              </a:defRPr>
            </a:lvl3pPr>
            <a:lvl4pPr marL="628650" indent="-268288">
              <a:spcBef>
                <a:spcPts val="300"/>
              </a:spcBef>
              <a:defRPr sz="1100">
                <a:latin typeface="+mn-lt"/>
              </a:defRPr>
            </a:lvl4pPr>
            <a:lvl5pPr marL="990600" indent="-269875">
              <a:spcBef>
                <a:spcPts val="300"/>
              </a:spcBef>
              <a:defRPr sz="1000">
                <a:latin typeface="+mn-lt"/>
              </a:defRPr>
            </a:lvl5pPr>
            <a:lvl6pPr>
              <a:defRPr baseline="0"/>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8" name="Text Placeholder 9"/>
          <p:cNvSpPr>
            <a:spLocks noGrp="1"/>
          </p:cNvSpPr>
          <p:nvPr>
            <p:ph type="body" sz="quarter" idx="36"/>
          </p:nvPr>
        </p:nvSpPr>
        <p:spPr bwMode="gray">
          <a:xfrm>
            <a:off x="3091692" y="2319236"/>
            <a:ext cx="1878407" cy="3748190"/>
          </a:xfrm>
          <a:prstGeom prst="rect">
            <a:avLst/>
          </a:prstGeom>
        </p:spPr>
        <p:txBody>
          <a:bodyPr lIns="0" tIns="36645" rIns="0" bIns="0"/>
          <a:lstStyle>
            <a:lvl1pPr>
              <a:defRPr sz="1600">
                <a:latin typeface="Univers for KPMG" panose="020B0603020202020204" pitchFamily="34" charset="0"/>
                <a:cs typeface="Univers for KPMG Light"/>
              </a:defRPr>
            </a:lvl1pPr>
            <a:lvl2pPr marL="0" indent="0">
              <a:spcBef>
                <a:spcPts val="600"/>
              </a:spcBef>
              <a:defRPr sz="1400">
                <a:latin typeface="+mn-lt"/>
                <a:cs typeface="Univers for KPMG Light" panose="020B0403020202020204" pitchFamily="34" charset="0"/>
              </a:defRPr>
            </a:lvl2pPr>
            <a:lvl3pPr marL="270000" indent="-270000">
              <a:spcBef>
                <a:spcPts val="300"/>
              </a:spcBef>
              <a:defRPr sz="1200">
                <a:latin typeface="+mn-lt"/>
                <a:cs typeface="Univers for KPMG Light" panose="020B0403020202020204" pitchFamily="34" charset="0"/>
              </a:defRPr>
            </a:lvl3pPr>
            <a:lvl4pPr marL="628650" indent="-268288">
              <a:spcBef>
                <a:spcPts val="300"/>
              </a:spcBef>
              <a:defRPr sz="1100">
                <a:latin typeface="+mn-lt"/>
              </a:defRPr>
            </a:lvl4pPr>
            <a:lvl5pPr marL="990600" indent="-269875">
              <a:spcBef>
                <a:spcPts val="300"/>
              </a:spcBef>
              <a:defRPr sz="1000">
                <a:latin typeface="+mn-lt"/>
              </a:defRPr>
            </a:lvl5pPr>
            <a:lvl6pPr>
              <a:defRPr baseline="0"/>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9" name="Text Placeholder 9"/>
          <p:cNvSpPr>
            <a:spLocks noGrp="1"/>
          </p:cNvSpPr>
          <p:nvPr>
            <p:ph type="body" sz="quarter" idx="37"/>
          </p:nvPr>
        </p:nvSpPr>
        <p:spPr bwMode="gray">
          <a:xfrm>
            <a:off x="5167383" y="2319236"/>
            <a:ext cx="1878407" cy="3748190"/>
          </a:xfrm>
          <a:prstGeom prst="rect">
            <a:avLst/>
          </a:prstGeom>
        </p:spPr>
        <p:txBody>
          <a:bodyPr lIns="0" tIns="36645" rIns="0" bIns="0"/>
          <a:lstStyle>
            <a:lvl1pPr>
              <a:defRPr sz="1600">
                <a:latin typeface="Univers for KPMG" panose="020B0603020202020204" pitchFamily="34" charset="0"/>
                <a:cs typeface="Univers for KPMG Light"/>
              </a:defRPr>
            </a:lvl1pPr>
            <a:lvl2pPr marL="0" indent="0">
              <a:spcBef>
                <a:spcPts val="600"/>
              </a:spcBef>
              <a:defRPr sz="1400">
                <a:latin typeface="+mn-lt"/>
                <a:cs typeface="Univers for KPMG Light" panose="020B0403020202020204" pitchFamily="34" charset="0"/>
              </a:defRPr>
            </a:lvl2pPr>
            <a:lvl3pPr marL="270000" indent="-270000">
              <a:spcBef>
                <a:spcPts val="300"/>
              </a:spcBef>
              <a:defRPr sz="1200">
                <a:latin typeface="+mn-lt"/>
                <a:cs typeface="Univers for KPMG Light" panose="020B0403020202020204" pitchFamily="34" charset="0"/>
              </a:defRPr>
            </a:lvl3pPr>
            <a:lvl4pPr marL="628650" indent="-268288">
              <a:spcBef>
                <a:spcPts val="300"/>
              </a:spcBef>
              <a:defRPr sz="1100">
                <a:latin typeface="+mn-lt"/>
              </a:defRPr>
            </a:lvl4pPr>
            <a:lvl5pPr marL="990600" indent="-269875">
              <a:spcBef>
                <a:spcPts val="300"/>
              </a:spcBef>
              <a:defRPr sz="1000">
                <a:latin typeface="+mn-lt"/>
              </a:defRPr>
            </a:lvl5pPr>
            <a:lvl6pPr>
              <a:defRPr baseline="0"/>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20" name="Text Placeholder 9"/>
          <p:cNvSpPr>
            <a:spLocks noGrp="1"/>
          </p:cNvSpPr>
          <p:nvPr>
            <p:ph type="body" sz="quarter" idx="38"/>
          </p:nvPr>
        </p:nvSpPr>
        <p:spPr bwMode="gray">
          <a:xfrm>
            <a:off x="7243074" y="2319236"/>
            <a:ext cx="1878407" cy="3748190"/>
          </a:xfrm>
          <a:prstGeom prst="rect">
            <a:avLst/>
          </a:prstGeom>
        </p:spPr>
        <p:txBody>
          <a:bodyPr lIns="0" tIns="36645" rIns="0" bIns="0"/>
          <a:lstStyle>
            <a:lvl1pPr>
              <a:defRPr sz="1600">
                <a:latin typeface="Univers for KPMG" panose="020B0603020202020204" pitchFamily="34" charset="0"/>
                <a:cs typeface="Univers for KPMG Light"/>
              </a:defRPr>
            </a:lvl1pPr>
            <a:lvl2pPr marL="0" indent="0">
              <a:spcBef>
                <a:spcPts val="600"/>
              </a:spcBef>
              <a:defRPr sz="1400">
                <a:latin typeface="+mn-lt"/>
                <a:cs typeface="Univers for KPMG Light" panose="020B0403020202020204" pitchFamily="34" charset="0"/>
              </a:defRPr>
            </a:lvl2pPr>
            <a:lvl3pPr marL="270000" indent="-270000">
              <a:spcBef>
                <a:spcPts val="300"/>
              </a:spcBef>
              <a:defRPr sz="1200">
                <a:latin typeface="+mn-lt"/>
                <a:cs typeface="Univers for KPMG Light" panose="020B0403020202020204" pitchFamily="34" charset="0"/>
              </a:defRPr>
            </a:lvl3pPr>
            <a:lvl4pPr marL="628650" indent="-268288">
              <a:spcBef>
                <a:spcPts val="300"/>
              </a:spcBef>
              <a:defRPr sz="1100">
                <a:latin typeface="+mn-lt"/>
              </a:defRPr>
            </a:lvl4pPr>
            <a:lvl5pPr marL="990600" indent="-269875">
              <a:spcBef>
                <a:spcPts val="300"/>
              </a:spcBef>
              <a:defRPr sz="1000">
                <a:latin typeface="+mn-lt"/>
              </a:defRPr>
            </a:lvl5pPr>
            <a:lvl6pPr>
              <a:defRPr baseline="0"/>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21" name="Title 1"/>
          <p:cNvSpPr>
            <a:spLocks noGrp="1"/>
          </p:cNvSpPr>
          <p:nvPr>
            <p:ph type="title"/>
          </p:nvPr>
        </p:nvSpPr>
        <p:spPr>
          <a:xfrm>
            <a:off x="996951" y="538843"/>
            <a:ext cx="10176935" cy="704858"/>
          </a:xfrm>
        </p:spPr>
        <p:txBody>
          <a:bodyPr/>
          <a:lstStyle/>
          <a:p>
            <a:r>
              <a:rPr lang="en-US" noProof="0" smtClean="0"/>
              <a:t>Click to edit Master title style</a:t>
            </a:r>
            <a:endParaRPr lang="en-CA" noProof="0" dirty="0"/>
          </a:p>
        </p:txBody>
      </p:sp>
    </p:spTree>
    <p:extLst>
      <p:ext uri="{BB962C8B-B14F-4D97-AF65-F5344CB8AC3E}">
        <p14:creationId xmlns:p14="http://schemas.microsoft.com/office/powerpoint/2010/main" val="61199806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Four text">
    <p:spTree>
      <p:nvGrpSpPr>
        <p:cNvPr id="1" name=""/>
        <p:cNvGrpSpPr/>
        <p:nvPr/>
      </p:nvGrpSpPr>
      <p:grpSpPr>
        <a:xfrm>
          <a:off x="0" y="0"/>
          <a:ext cx="0" cy="0"/>
          <a:chOff x="0" y="0"/>
          <a:chExt cx="0" cy="0"/>
        </a:xfrm>
      </p:grpSpPr>
      <p:sp>
        <p:nvSpPr>
          <p:cNvPr id="15" name="Text Placeholder 7"/>
          <p:cNvSpPr>
            <a:spLocks noGrp="1"/>
          </p:cNvSpPr>
          <p:nvPr>
            <p:ph type="body" sz="quarter" idx="32"/>
          </p:nvPr>
        </p:nvSpPr>
        <p:spPr>
          <a:xfrm>
            <a:off x="1016002" y="1524000"/>
            <a:ext cx="4866409" cy="2011680"/>
          </a:xfrm>
          <a:prstGeom prst="rect">
            <a:avLst/>
          </a:prstGeom>
        </p:spPr>
        <p:txBody>
          <a:bodyPr vert="horz" lIns="0" tIns="0" rIns="0" bIns="0"/>
          <a:lstStyle>
            <a:lvl1pPr>
              <a:defRPr sz="1600" b="1" i="0">
                <a:latin typeface="Univers for KPMG"/>
                <a:cs typeface="Univers for KPMG"/>
              </a:defRPr>
            </a:lvl1pPr>
            <a:lvl2pPr marL="0" indent="0">
              <a:defRPr sz="1400">
                <a:solidFill>
                  <a:srgbClr val="00338D"/>
                </a:solidFill>
                <a:latin typeface="+mn-lt"/>
                <a:cs typeface="Univers for KPMG Light"/>
              </a:defRPr>
            </a:lvl2pPr>
            <a:lvl3pPr marL="377943" indent="-309600">
              <a:defRPr sz="1200">
                <a:latin typeface="+mn-lt"/>
                <a:cs typeface="Univers for KPMG Light"/>
              </a:defRPr>
            </a:lvl3pPr>
            <a:lvl4pPr>
              <a:defRPr sz="1100">
                <a:latin typeface="+mn-lt"/>
                <a:cs typeface="Univers for KPMG Light"/>
              </a:defRPr>
            </a:lvl4pPr>
            <a:lvl5pPr>
              <a:defRPr sz="110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6" name="Text Placeholder 7"/>
          <p:cNvSpPr>
            <a:spLocks noGrp="1"/>
          </p:cNvSpPr>
          <p:nvPr>
            <p:ph type="body" sz="quarter" idx="33"/>
          </p:nvPr>
        </p:nvSpPr>
        <p:spPr>
          <a:xfrm>
            <a:off x="1016002" y="3893198"/>
            <a:ext cx="4866409" cy="2011680"/>
          </a:xfrm>
          <a:prstGeom prst="rect">
            <a:avLst/>
          </a:prstGeom>
        </p:spPr>
        <p:txBody>
          <a:bodyPr vert="horz" lIns="0" tIns="0" rIns="0" bIns="0"/>
          <a:lstStyle>
            <a:lvl1pPr>
              <a:defRPr sz="1600" b="1" i="0">
                <a:latin typeface="Univers for KPMG"/>
                <a:cs typeface="Univers for KPMG"/>
              </a:defRPr>
            </a:lvl1pPr>
            <a:lvl2pPr marL="0" indent="0">
              <a:defRPr sz="1400">
                <a:latin typeface="+mn-lt"/>
                <a:cs typeface="Univers for KPMG Light"/>
              </a:defRPr>
            </a:lvl2pPr>
            <a:lvl3pPr marL="377943" indent="-309600">
              <a:defRPr sz="1200">
                <a:latin typeface="+mn-lt"/>
                <a:cs typeface="Univers for KPMG Light"/>
              </a:defRPr>
            </a:lvl3pPr>
            <a:lvl4pPr>
              <a:defRPr sz="1100">
                <a:latin typeface="+mn-lt"/>
                <a:cs typeface="Univers for KPMG Light"/>
              </a:defRPr>
            </a:lvl4pPr>
            <a:lvl5pPr>
              <a:defRPr sz="110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8" name="Text Placeholder 7"/>
          <p:cNvSpPr>
            <a:spLocks noGrp="1"/>
          </p:cNvSpPr>
          <p:nvPr>
            <p:ph type="body" sz="quarter" idx="35"/>
          </p:nvPr>
        </p:nvSpPr>
        <p:spPr>
          <a:xfrm>
            <a:off x="6309593" y="1524000"/>
            <a:ext cx="4887577" cy="2011680"/>
          </a:xfrm>
          <a:prstGeom prst="rect">
            <a:avLst/>
          </a:prstGeom>
        </p:spPr>
        <p:txBody>
          <a:bodyPr vert="horz" lIns="0" tIns="0" rIns="0" bIns="0"/>
          <a:lstStyle>
            <a:lvl1pPr>
              <a:defRPr sz="1600" b="1" i="0">
                <a:latin typeface="Univers for KPMG"/>
                <a:cs typeface="Univers for KPMG"/>
              </a:defRPr>
            </a:lvl1pPr>
            <a:lvl2pPr marL="0" indent="0">
              <a:defRPr sz="1400">
                <a:latin typeface="+mn-lt"/>
                <a:cs typeface="Univers for KPMG Light"/>
              </a:defRPr>
            </a:lvl2pPr>
            <a:lvl3pPr marL="377943" indent="-309600">
              <a:defRPr sz="1200">
                <a:latin typeface="+mn-lt"/>
                <a:cs typeface="Univers for KPMG Light"/>
              </a:defRPr>
            </a:lvl3pPr>
            <a:lvl4pPr>
              <a:defRPr sz="1100">
                <a:latin typeface="+mn-lt"/>
                <a:cs typeface="Univers for KPMG Light"/>
              </a:defRPr>
            </a:lvl4pPr>
            <a:lvl5pPr>
              <a:defRPr sz="110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23" name="Text Placeholder 7"/>
          <p:cNvSpPr>
            <a:spLocks noGrp="1"/>
          </p:cNvSpPr>
          <p:nvPr>
            <p:ph type="body" sz="quarter" idx="36"/>
          </p:nvPr>
        </p:nvSpPr>
        <p:spPr>
          <a:xfrm>
            <a:off x="6309593" y="3893199"/>
            <a:ext cx="4887577" cy="2011680"/>
          </a:xfrm>
          <a:prstGeom prst="rect">
            <a:avLst/>
          </a:prstGeom>
        </p:spPr>
        <p:txBody>
          <a:bodyPr vert="horz" lIns="0" tIns="0" rIns="0" bIns="0"/>
          <a:lstStyle>
            <a:lvl1pPr>
              <a:defRPr sz="1600" b="1" i="0">
                <a:latin typeface="Univers for KPMG"/>
                <a:cs typeface="Univers for KPMG"/>
              </a:defRPr>
            </a:lvl1pPr>
            <a:lvl2pPr marL="0" indent="0">
              <a:defRPr sz="1400">
                <a:latin typeface="+mn-lt"/>
                <a:cs typeface="Univers for KPMG Light"/>
              </a:defRPr>
            </a:lvl2pPr>
            <a:lvl3pPr marL="377943" indent="-309600">
              <a:defRPr sz="1200">
                <a:latin typeface="+mn-lt"/>
                <a:cs typeface="Univers for KPMG Light"/>
              </a:defRPr>
            </a:lvl3pPr>
            <a:lvl4pPr>
              <a:defRPr sz="1100">
                <a:latin typeface="+mn-lt"/>
                <a:cs typeface="Univers for KPMG Light"/>
              </a:defRPr>
            </a:lvl4pPr>
            <a:lvl5pPr>
              <a:defRPr sz="110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1" name="Title 1"/>
          <p:cNvSpPr>
            <a:spLocks noGrp="1"/>
          </p:cNvSpPr>
          <p:nvPr>
            <p:ph type="title"/>
          </p:nvPr>
        </p:nvSpPr>
        <p:spPr>
          <a:xfrm>
            <a:off x="996951" y="538843"/>
            <a:ext cx="10176935" cy="704858"/>
          </a:xfrm>
        </p:spPr>
        <p:txBody>
          <a:bodyPr/>
          <a:lstStyle/>
          <a:p>
            <a:r>
              <a:rPr lang="en-US" noProof="0" smtClean="0"/>
              <a:t>Click to edit Master title style</a:t>
            </a:r>
            <a:endParaRPr lang="en-CA" noProof="0" dirty="0"/>
          </a:p>
        </p:txBody>
      </p:sp>
    </p:spTree>
    <p:extLst>
      <p:ext uri="{BB962C8B-B14F-4D97-AF65-F5344CB8AC3E}">
        <p14:creationId xmlns:p14="http://schemas.microsoft.com/office/powerpoint/2010/main" val="291866654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1" name="Text Placeholder 20"/>
          <p:cNvSpPr>
            <a:spLocks noGrp="1"/>
          </p:cNvSpPr>
          <p:nvPr>
            <p:ph type="body" sz="quarter" idx="26"/>
          </p:nvPr>
        </p:nvSpPr>
        <p:spPr bwMode="gray">
          <a:xfrm>
            <a:off x="1016002" y="1530159"/>
            <a:ext cx="4866409" cy="387856"/>
          </a:xfrm>
          <a:prstGeom prst="rect">
            <a:avLst/>
          </a:prstGeom>
          <a:solidFill>
            <a:schemeClr val="tx2"/>
          </a:solidFill>
          <a:ln w="12700">
            <a:noFill/>
          </a:ln>
        </p:spPr>
        <p:txBody>
          <a:bodyPr vert="horz" lIns="36000" tIns="36000" rIns="36000" bIns="36000" rtlCol="0" anchor="ctr" anchorCtr="0">
            <a:noAutofit/>
          </a:bodyPr>
          <a:lstStyle>
            <a:lvl1pPr>
              <a:lnSpc>
                <a:spcPct val="90000"/>
              </a:lnSpc>
              <a:spcBef>
                <a:spcPts val="0"/>
              </a:spcBef>
              <a:defRPr lang="en-US" sz="16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26" name="Text Placeholder 20"/>
          <p:cNvSpPr>
            <a:spLocks noGrp="1"/>
          </p:cNvSpPr>
          <p:nvPr>
            <p:ph type="body" sz="quarter" idx="28"/>
          </p:nvPr>
        </p:nvSpPr>
        <p:spPr bwMode="gray">
          <a:xfrm>
            <a:off x="1016002" y="3830634"/>
            <a:ext cx="4866409" cy="387856"/>
          </a:xfrm>
          <a:prstGeom prst="rect">
            <a:avLst/>
          </a:prstGeom>
          <a:solidFill>
            <a:schemeClr val="tx2"/>
          </a:solidFill>
          <a:ln w="12700">
            <a:noFill/>
          </a:ln>
        </p:spPr>
        <p:txBody>
          <a:bodyPr vert="horz" lIns="36000" tIns="36000" rIns="36000" bIns="36000" rtlCol="0" anchor="ctr" anchorCtr="0">
            <a:noAutofit/>
          </a:bodyPr>
          <a:lstStyle>
            <a:lvl1pPr>
              <a:lnSpc>
                <a:spcPct val="90000"/>
              </a:lnSpc>
              <a:spcBef>
                <a:spcPts val="0"/>
              </a:spcBef>
              <a:defRPr lang="en-US" sz="16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13" name="Text Placeholder 20"/>
          <p:cNvSpPr>
            <a:spLocks noGrp="1"/>
          </p:cNvSpPr>
          <p:nvPr>
            <p:ph type="body" sz="quarter" idx="30"/>
          </p:nvPr>
        </p:nvSpPr>
        <p:spPr bwMode="gray">
          <a:xfrm>
            <a:off x="6309593" y="1530159"/>
            <a:ext cx="4887577" cy="387856"/>
          </a:xfrm>
          <a:prstGeom prst="rect">
            <a:avLst/>
          </a:prstGeom>
          <a:solidFill>
            <a:schemeClr val="tx2"/>
          </a:solidFill>
          <a:ln w="12700">
            <a:noFill/>
          </a:ln>
        </p:spPr>
        <p:txBody>
          <a:bodyPr vert="horz" lIns="36000" tIns="36000" rIns="36000" bIns="36000" rtlCol="0" anchor="ctr" anchorCtr="0">
            <a:noAutofit/>
          </a:bodyPr>
          <a:lstStyle>
            <a:lvl1pPr>
              <a:lnSpc>
                <a:spcPct val="90000"/>
              </a:lnSpc>
              <a:spcBef>
                <a:spcPts val="0"/>
              </a:spcBef>
              <a:defRPr lang="en-US" sz="16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15" name="Text Placeholder 7"/>
          <p:cNvSpPr>
            <a:spLocks noGrp="1"/>
          </p:cNvSpPr>
          <p:nvPr>
            <p:ph type="body" sz="quarter" idx="32"/>
          </p:nvPr>
        </p:nvSpPr>
        <p:spPr>
          <a:xfrm>
            <a:off x="1016002" y="1926099"/>
            <a:ext cx="4866409" cy="1689248"/>
          </a:xfrm>
          <a:prstGeom prst="rect">
            <a:avLst/>
          </a:prstGeom>
          <a:ln>
            <a:solidFill>
              <a:srgbClr val="00338D"/>
            </a:solidFill>
          </a:ln>
        </p:spPr>
        <p:txBody>
          <a:bodyPr vert="horz" lIns="36000" tIns="36000" rIns="36000" bIns="36000"/>
          <a:lstStyle>
            <a:lvl1pPr>
              <a:defRPr sz="1600" b="1" i="0">
                <a:latin typeface="Univers for KPMG"/>
                <a:cs typeface="Univers for KPMG"/>
              </a:defRPr>
            </a:lvl1pPr>
            <a:lvl2pPr marL="0" indent="0">
              <a:defRPr sz="1400">
                <a:solidFill>
                  <a:srgbClr val="00338D"/>
                </a:solidFill>
                <a:latin typeface="+mn-lt"/>
                <a:cs typeface="Univers for KPMG Light"/>
              </a:defRPr>
            </a:lvl2pPr>
            <a:lvl3pPr marL="377943" indent="-309600">
              <a:defRPr sz="1200">
                <a:latin typeface="+mn-lt"/>
                <a:cs typeface="Univers for KPMG Light"/>
              </a:defRPr>
            </a:lvl3pPr>
            <a:lvl4pPr>
              <a:defRPr sz="1100">
                <a:latin typeface="+mn-lt"/>
                <a:cs typeface="Univers for KPMG Light"/>
              </a:defRPr>
            </a:lvl4pPr>
            <a:lvl5pPr>
              <a:defRPr sz="110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6" name="Text Placeholder 7"/>
          <p:cNvSpPr>
            <a:spLocks noGrp="1"/>
          </p:cNvSpPr>
          <p:nvPr>
            <p:ph type="body" sz="quarter" idx="33"/>
          </p:nvPr>
        </p:nvSpPr>
        <p:spPr>
          <a:xfrm>
            <a:off x="1016002" y="4226574"/>
            <a:ext cx="4866409" cy="1678925"/>
          </a:xfrm>
          <a:prstGeom prst="rect">
            <a:avLst/>
          </a:prstGeom>
          <a:ln>
            <a:solidFill>
              <a:srgbClr val="00338D"/>
            </a:solidFill>
          </a:ln>
        </p:spPr>
        <p:txBody>
          <a:bodyPr vert="horz" lIns="36000" tIns="36000" rIns="36000" bIns="36000"/>
          <a:lstStyle>
            <a:lvl1pPr>
              <a:defRPr sz="1600" b="1" i="0">
                <a:latin typeface="Univers for KPMG"/>
                <a:cs typeface="Univers for KPMG"/>
              </a:defRPr>
            </a:lvl1pPr>
            <a:lvl2pPr marL="0" indent="0">
              <a:defRPr sz="1400">
                <a:latin typeface="+mn-lt"/>
                <a:cs typeface="Univers for KPMG Light"/>
              </a:defRPr>
            </a:lvl2pPr>
            <a:lvl3pPr marL="377943" indent="-309600">
              <a:defRPr sz="1200">
                <a:latin typeface="+mn-lt"/>
                <a:cs typeface="Univers for KPMG Light"/>
              </a:defRPr>
            </a:lvl3pPr>
            <a:lvl4pPr>
              <a:defRPr sz="1100">
                <a:latin typeface="+mn-lt"/>
                <a:cs typeface="Univers for KPMG Light"/>
              </a:defRPr>
            </a:lvl4pPr>
            <a:lvl5pPr>
              <a:defRPr sz="110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7" name="Text Placeholder 20"/>
          <p:cNvSpPr>
            <a:spLocks noGrp="1"/>
          </p:cNvSpPr>
          <p:nvPr>
            <p:ph type="body" sz="quarter" idx="34"/>
          </p:nvPr>
        </p:nvSpPr>
        <p:spPr bwMode="gray">
          <a:xfrm>
            <a:off x="6309593" y="3851667"/>
            <a:ext cx="4887577" cy="387856"/>
          </a:xfrm>
          <a:prstGeom prst="rect">
            <a:avLst/>
          </a:prstGeom>
          <a:solidFill>
            <a:srgbClr val="00338D"/>
          </a:solidFill>
          <a:ln w="12700">
            <a:noFill/>
          </a:ln>
        </p:spPr>
        <p:txBody>
          <a:bodyPr vert="horz" lIns="36000" tIns="36000" rIns="36000" bIns="36000" rtlCol="0" anchor="ctr" anchorCtr="0">
            <a:noAutofit/>
          </a:bodyPr>
          <a:lstStyle>
            <a:lvl1pPr>
              <a:lnSpc>
                <a:spcPct val="90000"/>
              </a:lnSpc>
              <a:spcBef>
                <a:spcPts val="0"/>
              </a:spcBef>
              <a:defRPr lang="en-US" sz="16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18" name="Text Placeholder 7"/>
          <p:cNvSpPr>
            <a:spLocks noGrp="1"/>
          </p:cNvSpPr>
          <p:nvPr>
            <p:ph type="body" sz="quarter" idx="35"/>
          </p:nvPr>
        </p:nvSpPr>
        <p:spPr>
          <a:xfrm>
            <a:off x="6309593" y="1926099"/>
            <a:ext cx="4887577" cy="1689248"/>
          </a:xfrm>
          <a:prstGeom prst="rect">
            <a:avLst/>
          </a:prstGeom>
          <a:ln>
            <a:solidFill>
              <a:srgbClr val="00338D"/>
            </a:solidFill>
          </a:ln>
        </p:spPr>
        <p:txBody>
          <a:bodyPr vert="horz" lIns="36000" tIns="36000" rIns="36000" bIns="36000"/>
          <a:lstStyle>
            <a:lvl1pPr>
              <a:defRPr sz="1600" b="1" i="0">
                <a:latin typeface="Univers for KPMG"/>
                <a:cs typeface="Univers for KPMG"/>
              </a:defRPr>
            </a:lvl1pPr>
            <a:lvl2pPr marL="0" indent="0">
              <a:defRPr sz="1400">
                <a:latin typeface="+mn-lt"/>
                <a:cs typeface="Univers for KPMG Light"/>
              </a:defRPr>
            </a:lvl2pPr>
            <a:lvl3pPr marL="377943" indent="-309600">
              <a:defRPr sz="1200">
                <a:latin typeface="+mn-lt"/>
                <a:cs typeface="Univers for KPMG Light"/>
              </a:defRPr>
            </a:lvl3pPr>
            <a:lvl4pPr>
              <a:defRPr sz="1100">
                <a:latin typeface="+mn-lt"/>
                <a:cs typeface="Univers for KPMG Light"/>
              </a:defRPr>
            </a:lvl4pPr>
            <a:lvl5pPr>
              <a:defRPr sz="110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23" name="Text Placeholder 7"/>
          <p:cNvSpPr>
            <a:spLocks noGrp="1"/>
          </p:cNvSpPr>
          <p:nvPr>
            <p:ph type="body" sz="quarter" idx="36"/>
          </p:nvPr>
        </p:nvSpPr>
        <p:spPr>
          <a:xfrm>
            <a:off x="6309593" y="4226575"/>
            <a:ext cx="4887577" cy="1678925"/>
          </a:xfrm>
          <a:prstGeom prst="rect">
            <a:avLst/>
          </a:prstGeom>
          <a:ln>
            <a:solidFill>
              <a:srgbClr val="00338D"/>
            </a:solidFill>
          </a:ln>
        </p:spPr>
        <p:txBody>
          <a:bodyPr vert="horz" lIns="36000" tIns="36000" rIns="36000" bIns="36000"/>
          <a:lstStyle>
            <a:lvl1pPr>
              <a:defRPr sz="1600" b="1" i="0">
                <a:latin typeface="Univers for KPMG"/>
                <a:cs typeface="Univers for KPMG"/>
              </a:defRPr>
            </a:lvl1pPr>
            <a:lvl2pPr marL="0" indent="0">
              <a:defRPr sz="1400">
                <a:latin typeface="+mn-lt"/>
                <a:cs typeface="Univers for KPMG Light"/>
              </a:defRPr>
            </a:lvl2pPr>
            <a:lvl3pPr marL="377943" indent="-309600">
              <a:defRPr sz="1200">
                <a:latin typeface="+mn-lt"/>
                <a:cs typeface="Univers for KPMG Light"/>
              </a:defRPr>
            </a:lvl3pPr>
            <a:lvl4pPr>
              <a:defRPr sz="1100">
                <a:latin typeface="+mn-lt"/>
                <a:cs typeface="Univers for KPMG Light"/>
              </a:defRPr>
            </a:lvl4pPr>
            <a:lvl5pPr>
              <a:defRPr sz="110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1" name="Title 1"/>
          <p:cNvSpPr>
            <a:spLocks noGrp="1"/>
          </p:cNvSpPr>
          <p:nvPr>
            <p:ph type="title"/>
          </p:nvPr>
        </p:nvSpPr>
        <p:spPr>
          <a:xfrm>
            <a:off x="996951" y="538843"/>
            <a:ext cx="10176935" cy="704858"/>
          </a:xfrm>
        </p:spPr>
        <p:txBody>
          <a:bodyPr/>
          <a:lstStyle/>
          <a:p>
            <a:r>
              <a:rPr lang="en-US" noProof="0" smtClean="0"/>
              <a:t>Click to edit Master title style</a:t>
            </a:r>
            <a:endParaRPr lang="en-CA" noProof="0" dirty="0"/>
          </a:p>
        </p:txBody>
      </p:sp>
    </p:spTree>
    <p:extLst>
      <p:ext uri="{BB962C8B-B14F-4D97-AF65-F5344CB8AC3E}">
        <p14:creationId xmlns:p14="http://schemas.microsoft.com/office/powerpoint/2010/main" val="89356977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Quad">
    <p:spTree>
      <p:nvGrpSpPr>
        <p:cNvPr id="1" name=""/>
        <p:cNvGrpSpPr/>
        <p:nvPr/>
      </p:nvGrpSpPr>
      <p:grpSpPr>
        <a:xfrm>
          <a:off x="0" y="0"/>
          <a:ext cx="0" cy="0"/>
          <a:chOff x="0" y="0"/>
          <a:chExt cx="0" cy="0"/>
        </a:xfrm>
      </p:grpSpPr>
      <p:sp>
        <p:nvSpPr>
          <p:cNvPr id="11" name="Title 1"/>
          <p:cNvSpPr>
            <a:spLocks noGrp="1"/>
          </p:cNvSpPr>
          <p:nvPr>
            <p:ph type="title"/>
          </p:nvPr>
        </p:nvSpPr>
        <p:spPr>
          <a:xfrm>
            <a:off x="996951" y="538843"/>
            <a:ext cx="10176935" cy="704858"/>
          </a:xfrm>
        </p:spPr>
        <p:txBody>
          <a:bodyPr/>
          <a:lstStyle/>
          <a:p>
            <a:r>
              <a:rPr lang="en-US" noProof="0" smtClean="0"/>
              <a:t>Click to edit Master title style</a:t>
            </a:r>
            <a:endParaRPr lang="en-CA" noProof="0" dirty="0"/>
          </a:p>
        </p:txBody>
      </p:sp>
      <p:sp>
        <p:nvSpPr>
          <p:cNvPr id="12" name="Text Placeholder 10"/>
          <p:cNvSpPr>
            <a:spLocks noGrp="1"/>
          </p:cNvSpPr>
          <p:nvPr>
            <p:ph type="body" sz="quarter" idx="21"/>
          </p:nvPr>
        </p:nvSpPr>
        <p:spPr bwMode="gray">
          <a:xfrm>
            <a:off x="5286950" y="2989850"/>
            <a:ext cx="1590099" cy="1590099"/>
          </a:xfrm>
          <a:prstGeom prst="ellipse">
            <a:avLst/>
          </a:prstGeom>
          <a:solidFill>
            <a:srgbClr val="00A3A1"/>
          </a:solidFill>
          <a:ln>
            <a:noFill/>
          </a:ln>
        </p:spPr>
        <p:txBody>
          <a:bodyPr lIns="36000" tIns="36000" rIns="36000" bIns="36000" anchor="ctr" anchorCtr="0"/>
          <a:lstStyle>
            <a:lvl1pPr algn="ctr">
              <a:lnSpc>
                <a:spcPct val="90000"/>
              </a:lnSpc>
              <a:spcBef>
                <a:spcPts val="0"/>
              </a:spcBef>
              <a:defRPr sz="1600">
                <a:solidFill>
                  <a:schemeClr val="bg1"/>
                </a:solidFill>
                <a:latin typeface="Univers for KPMG" panose="020B0603020202020204" pitchFamily="34" charset="0"/>
                <a:cs typeface="Univers for KPMG Light"/>
              </a:defRPr>
            </a:lvl1pPr>
          </a:lstStyle>
          <a:p>
            <a:pPr lvl="0"/>
            <a:r>
              <a:rPr lang="en-US" smtClean="0"/>
              <a:t>Click to edit Master text styles</a:t>
            </a:r>
          </a:p>
        </p:txBody>
      </p:sp>
      <p:sp>
        <p:nvSpPr>
          <p:cNvPr id="14" name="Text Placeholder 20"/>
          <p:cNvSpPr>
            <a:spLocks noGrp="1"/>
          </p:cNvSpPr>
          <p:nvPr>
            <p:ph type="body" sz="quarter" idx="22"/>
          </p:nvPr>
        </p:nvSpPr>
        <p:spPr bwMode="gray">
          <a:xfrm>
            <a:off x="996951" y="1840466"/>
            <a:ext cx="3840480" cy="1611737"/>
          </a:xfrm>
          <a:prstGeom prst="rect">
            <a:avLst/>
          </a:prstGeom>
          <a:solidFill>
            <a:schemeClr val="bg1"/>
          </a:solidFill>
          <a:ln w="6350">
            <a:solidFill>
              <a:srgbClr val="00338D"/>
            </a:solidFill>
          </a:ln>
        </p:spPr>
        <p:txBody>
          <a:bodyPr lIns="36000" tIns="36000" rIns="36000" bIns="36000"/>
          <a:lstStyle>
            <a:lvl1pPr>
              <a:spcBef>
                <a:spcPts val="0"/>
              </a:spcBef>
              <a:defRPr sz="1600" b="1">
                <a:solidFill>
                  <a:srgbClr val="00338D"/>
                </a:solidFill>
                <a:latin typeface="Univers for KPMG" panose="020B0603020202020204" pitchFamily="34" charset="0"/>
                <a:cs typeface="Univers for KPMG Light"/>
              </a:defRPr>
            </a:lvl1pPr>
            <a:lvl2pPr marL="0" indent="0">
              <a:spcBef>
                <a:spcPts val="0"/>
              </a:spcBef>
              <a:buFontTx/>
              <a:buNone/>
              <a:defRPr sz="1400">
                <a:solidFill>
                  <a:srgbClr val="00338D"/>
                </a:solidFill>
                <a:latin typeface="+mn-lt"/>
                <a:cs typeface="Univers for KPMG Light"/>
              </a:defRPr>
            </a:lvl2pPr>
            <a:lvl3pPr marL="283464" indent="-309600">
              <a:spcBef>
                <a:spcPts val="0"/>
              </a:spcBef>
              <a:buFont typeface="Univers for KPMG Light" panose="020B0403020202020204" pitchFamily="34" charset="0"/>
              <a:buChar char="—"/>
              <a:defRPr sz="1200">
                <a:solidFill>
                  <a:srgbClr val="00338D"/>
                </a:solidFill>
                <a:latin typeface="+mn-lt"/>
                <a:cs typeface="Univers for KPMG Light"/>
              </a:defRPr>
            </a:lvl3pPr>
            <a:lvl4pPr marL="576072" indent="-248400">
              <a:spcBef>
                <a:spcPts val="0"/>
              </a:spcBef>
              <a:buFont typeface="Univers for KPMG Light" panose="020B0403020202020204" pitchFamily="34" charset="0"/>
              <a:buChar char="–"/>
              <a:defRPr sz="1100">
                <a:latin typeface="+mn-lt"/>
              </a:defRPr>
            </a:lvl4pPr>
            <a:lvl5pPr>
              <a:spcBef>
                <a:spcPts val="0"/>
              </a:spcBef>
              <a:defRPr lang="en-US" sz="1000" b="0" i="0" dirty="0" smtClean="0">
                <a:solidFill>
                  <a:srgbClr val="00338D"/>
                </a:solidFill>
                <a:latin typeface="+mn-lt"/>
                <a:cs typeface="Univers for KPMG Light"/>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smtClean="0"/>
          </a:p>
        </p:txBody>
      </p:sp>
      <p:sp>
        <p:nvSpPr>
          <p:cNvPr id="19" name="Text Placeholder 20"/>
          <p:cNvSpPr>
            <a:spLocks noGrp="1"/>
          </p:cNvSpPr>
          <p:nvPr>
            <p:ph type="body" sz="quarter" idx="26"/>
          </p:nvPr>
        </p:nvSpPr>
        <p:spPr bwMode="gray">
          <a:xfrm>
            <a:off x="996951" y="1524000"/>
            <a:ext cx="3840480" cy="289726"/>
          </a:xfrm>
          <a:prstGeom prst="rect">
            <a:avLst/>
          </a:prstGeom>
          <a:solidFill>
            <a:srgbClr val="00338D"/>
          </a:solidFill>
          <a:ln w="12700">
            <a:solidFill>
              <a:schemeClr val="tx2"/>
            </a:solidFill>
          </a:ln>
        </p:spPr>
        <p:txBody>
          <a:bodyPr vert="horz" lIns="36000" tIns="36000" rIns="36000" bIns="36000" rtlCol="0" anchor="ctr" anchorCtr="0">
            <a:noAutofit/>
          </a:bodyPr>
          <a:lstStyle>
            <a:lvl1pPr algn="l">
              <a:defRPr lang="en-US" sz="1600" b="1" kern="1200" noProof="0" dirty="0" smtClean="0">
                <a:solidFill>
                  <a:schemeClr val="bg1"/>
                </a:solidFill>
                <a:latin typeface="Univers for KPMG" panose="020B0603020202020204"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820583" rtl="0" eaLnBrk="1" latinLnBrk="0" hangingPunct="1">
              <a:lnSpc>
                <a:spcPct val="100000"/>
              </a:lnSpc>
              <a:spcBef>
                <a:spcPts val="538"/>
              </a:spcBef>
              <a:buFont typeface="Arial" pitchFamily="34" charset="0"/>
              <a:buNone/>
            </a:pPr>
            <a:r>
              <a:rPr lang="en-US" noProof="0" smtClean="0"/>
              <a:t>Click to edit Master text styles</a:t>
            </a:r>
          </a:p>
        </p:txBody>
      </p:sp>
      <p:sp>
        <p:nvSpPr>
          <p:cNvPr id="20" name="AutoShape 20"/>
          <p:cNvSpPr>
            <a:spLocks noChangeArrowheads="1"/>
          </p:cNvSpPr>
          <p:nvPr userDrawn="1"/>
        </p:nvSpPr>
        <p:spPr bwMode="gray">
          <a:xfrm rot="2700000" flipH="1" flipV="1">
            <a:off x="6851034" y="4187494"/>
            <a:ext cx="360000" cy="360000"/>
          </a:xfrm>
          <a:prstGeom prst="rightArrow">
            <a:avLst>
              <a:gd name="adj1" fmla="val 63333"/>
              <a:gd name="adj2" fmla="val 49582"/>
            </a:avLst>
          </a:prstGeom>
          <a:solidFill>
            <a:srgbClr val="00338D"/>
          </a:solidFill>
          <a:ln w="6350" algn="ctr">
            <a:noFill/>
            <a:miter lim="800000"/>
            <a:headEnd/>
            <a:tailEnd/>
          </a:ln>
          <a:effectLst/>
        </p:spPr>
        <p:txBody>
          <a:bodyPr rot="10800000" wrap="none" lIns="82058" tIns="41029" rIns="82058" bIns="41029" anchor="ctr"/>
          <a:lstStyle/>
          <a:p>
            <a:pPr defTabSz="488582"/>
            <a:endParaRPr lang="en-CA" sz="1867" dirty="0">
              <a:solidFill>
                <a:srgbClr val="483698"/>
              </a:solidFill>
            </a:endParaRPr>
          </a:p>
        </p:txBody>
      </p:sp>
      <p:sp>
        <p:nvSpPr>
          <p:cNvPr id="22" name="AutoShape 20"/>
          <p:cNvSpPr>
            <a:spLocks noChangeArrowheads="1"/>
          </p:cNvSpPr>
          <p:nvPr userDrawn="1"/>
        </p:nvSpPr>
        <p:spPr bwMode="gray">
          <a:xfrm rot="18900000" flipV="1">
            <a:off x="4957158" y="4187494"/>
            <a:ext cx="360000" cy="360000"/>
          </a:xfrm>
          <a:prstGeom prst="rightArrow">
            <a:avLst>
              <a:gd name="adj1" fmla="val 63333"/>
              <a:gd name="adj2" fmla="val 49582"/>
            </a:avLst>
          </a:prstGeom>
          <a:solidFill>
            <a:srgbClr val="00338D"/>
          </a:solidFill>
          <a:ln w="6350" algn="ctr">
            <a:noFill/>
            <a:miter lim="800000"/>
            <a:headEnd/>
            <a:tailEnd/>
          </a:ln>
          <a:effectLst/>
        </p:spPr>
        <p:txBody>
          <a:bodyPr rot="10800000" wrap="none" lIns="82058" tIns="41029" rIns="82058" bIns="41029" anchor="ctr"/>
          <a:lstStyle/>
          <a:p>
            <a:pPr defTabSz="488582"/>
            <a:endParaRPr lang="en-CA" sz="1867" dirty="0">
              <a:solidFill>
                <a:srgbClr val="483698"/>
              </a:solidFill>
            </a:endParaRPr>
          </a:p>
        </p:txBody>
      </p:sp>
      <p:sp>
        <p:nvSpPr>
          <p:cNvPr id="24" name="Text Placeholder 20"/>
          <p:cNvSpPr>
            <a:spLocks noGrp="1"/>
          </p:cNvSpPr>
          <p:nvPr>
            <p:ph type="body" sz="quarter" idx="47"/>
          </p:nvPr>
        </p:nvSpPr>
        <p:spPr bwMode="gray">
          <a:xfrm>
            <a:off x="996951" y="4293763"/>
            <a:ext cx="3840480" cy="1611737"/>
          </a:xfrm>
          <a:prstGeom prst="rect">
            <a:avLst/>
          </a:prstGeom>
          <a:solidFill>
            <a:schemeClr val="bg1"/>
          </a:solidFill>
          <a:ln w="6350">
            <a:solidFill>
              <a:schemeClr val="tx2"/>
            </a:solidFill>
          </a:ln>
        </p:spPr>
        <p:txBody>
          <a:bodyPr lIns="36000" tIns="36000" rIns="36000" bIns="36000"/>
          <a:lstStyle>
            <a:lvl1pPr>
              <a:spcBef>
                <a:spcPts val="0"/>
              </a:spcBef>
              <a:defRPr sz="1600" b="1">
                <a:solidFill>
                  <a:srgbClr val="00338D"/>
                </a:solidFill>
                <a:latin typeface="Univers for KPMG" panose="020B0603020202020204" pitchFamily="34" charset="0"/>
                <a:cs typeface="Univers for KPMG Light"/>
              </a:defRPr>
            </a:lvl1pPr>
            <a:lvl2pPr marL="0" indent="0">
              <a:spcBef>
                <a:spcPts val="0"/>
              </a:spcBef>
              <a:buFontTx/>
              <a:buNone/>
              <a:defRPr sz="1400">
                <a:solidFill>
                  <a:srgbClr val="00338D"/>
                </a:solidFill>
                <a:latin typeface="+mn-lt"/>
                <a:cs typeface="Univers for KPMG Light"/>
              </a:defRPr>
            </a:lvl2pPr>
            <a:lvl3pPr marL="283464" indent="-309600">
              <a:spcBef>
                <a:spcPts val="0"/>
              </a:spcBef>
              <a:buFont typeface="Univers for KPMG Light" panose="020B0403020202020204" pitchFamily="34" charset="0"/>
              <a:buChar char="—"/>
              <a:defRPr sz="1200">
                <a:solidFill>
                  <a:srgbClr val="00338D"/>
                </a:solidFill>
                <a:latin typeface="+mn-lt"/>
                <a:cs typeface="Univers for KPMG Light"/>
              </a:defRPr>
            </a:lvl3pPr>
            <a:lvl4pPr marL="576072" indent="-248400">
              <a:spcBef>
                <a:spcPts val="0"/>
              </a:spcBef>
              <a:buFont typeface="Univers for KPMG Light" panose="020B0403020202020204" pitchFamily="34" charset="0"/>
              <a:buChar char="–"/>
              <a:defRPr sz="1100">
                <a:latin typeface="+mn-lt"/>
              </a:defRPr>
            </a:lvl4pPr>
            <a:lvl5pPr>
              <a:spcBef>
                <a:spcPts val="0"/>
              </a:spcBef>
              <a:defRPr lang="en-US" sz="1000" b="0" i="0" dirty="0" smtClean="0">
                <a:solidFill>
                  <a:srgbClr val="003087"/>
                </a:solidFill>
                <a:latin typeface="+mn-lt"/>
                <a:cs typeface="Univers for KPMG" panose="020B0603020202020204" pitchFamily="34" charset="0"/>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smtClean="0"/>
          </a:p>
        </p:txBody>
      </p:sp>
      <p:sp>
        <p:nvSpPr>
          <p:cNvPr id="25" name="Text Placeholder 20"/>
          <p:cNvSpPr>
            <a:spLocks noGrp="1"/>
          </p:cNvSpPr>
          <p:nvPr>
            <p:ph type="body" sz="quarter" idx="48"/>
          </p:nvPr>
        </p:nvSpPr>
        <p:spPr bwMode="gray">
          <a:xfrm>
            <a:off x="996951" y="3984360"/>
            <a:ext cx="3840480" cy="289313"/>
          </a:xfrm>
          <a:prstGeom prst="rect">
            <a:avLst/>
          </a:prstGeom>
          <a:solidFill>
            <a:srgbClr val="00338D"/>
          </a:solidFill>
          <a:ln w="12700">
            <a:solidFill>
              <a:schemeClr val="tx2"/>
            </a:solidFill>
          </a:ln>
        </p:spPr>
        <p:txBody>
          <a:bodyPr vert="horz" lIns="36000" tIns="36000" rIns="36000" bIns="36000" rtlCol="0" anchor="ctr" anchorCtr="0">
            <a:noAutofit/>
          </a:bodyPr>
          <a:lstStyle>
            <a:lvl1pPr algn="l">
              <a:defRPr lang="en-US" sz="1600" b="1" kern="1200" noProof="0" dirty="0" smtClean="0">
                <a:solidFill>
                  <a:schemeClr val="bg1"/>
                </a:solidFill>
                <a:latin typeface="Univers for KPMG" panose="020B0603020202020204"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820583" rtl="0" eaLnBrk="1" latinLnBrk="0" hangingPunct="1">
              <a:lnSpc>
                <a:spcPct val="100000"/>
              </a:lnSpc>
              <a:spcBef>
                <a:spcPts val="538"/>
              </a:spcBef>
              <a:buFont typeface="Arial" pitchFamily="34" charset="0"/>
              <a:buNone/>
            </a:pPr>
            <a:r>
              <a:rPr lang="en-US" noProof="0" smtClean="0"/>
              <a:t>Click to edit Master text styles</a:t>
            </a:r>
          </a:p>
        </p:txBody>
      </p:sp>
      <p:sp>
        <p:nvSpPr>
          <p:cNvPr id="27" name="Text Placeholder 20"/>
          <p:cNvSpPr>
            <a:spLocks noGrp="1"/>
          </p:cNvSpPr>
          <p:nvPr>
            <p:ph type="body" sz="quarter" idx="49"/>
          </p:nvPr>
        </p:nvSpPr>
        <p:spPr bwMode="gray">
          <a:xfrm>
            <a:off x="7333406" y="1840334"/>
            <a:ext cx="3840480" cy="1611737"/>
          </a:xfrm>
          <a:prstGeom prst="rect">
            <a:avLst/>
          </a:prstGeom>
          <a:solidFill>
            <a:schemeClr val="bg1"/>
          </a:solidFill>
          <a:ln w="6350">
            <a:solidFill>
              <a:schemeClr val="tx2"/>
            </a:solidFill>
          </a:ln>
        </p:spPr>
        <p:txBody>
          <a:bodyPr lIns="36000" tIns="36000" rIns="36000" bIns="36000"/>
          <a:lstStyle>
            <a:lvl1pPr>
              <a:spcBef>
                <a:spcPts val="0"/>
              </a:spcBef>
              <a:defRPr sz="1600" b="1">
                <a:solidFill>
                  <a:srgbClr val="00338D"/>
                </a:solidFill>
                <a:latin typeface="Univers for KPMG" panose="020B0603020202020204" pitchFamily="34" charset="0"/>
                <a:cs typeface="Univers for KPMG Light"/>
              </a:defRPr>
            </a:lvl1pPr>
            <a:lvl2pPr marL="0" indent="0">
              <a:spcBef>
                <a:spcPts val="0"/>
              </a:spcBef>
              <a:buFontTx/>
              <a:buNone/>
              <a:defRPr sz="1400" baseline="0">
                <a:solidFill>
                  <a:srgbClr val="00338D"/>
                </a:solidFill>
                <a:latin typeface="+mn-lt"/>
                <a:cs typeface="Univers for KPMG Light"/>
              </a:defRPr>
            </a:lvl2pPr>
            <a:lvl3pPr marL="283464" indent="-309600">
              <a:spcBef>
                <a:spcPts val="0"/>
              </a:spcBef>
              <a:buFont typeface="Univers for KPMG Light" panose="020B0403020202020204" pitchFamily="34" charset="0"/>
              <a:buChar char="—"/>
              <a:defRPr sz="1200">
                <a:solidFill>
                  <a:srgbClr val="00338D"/>
                </a:solidFill>
                <a:latin typeface="+mn-lt"/>
                <a:cs typeface="Univers for KPMG Light"/>
              </a:defRPr>
            </a:lvl3pPr>
            <a:lvl4pPr marL="576072" indent="-248400">
              <a:spcBef>
                <a:spcPts val="0"/>
              </a:spcBef>
              <a:buFont typeface="Univers for KPMG Light" panose="020B0403020202020204" pitchFamily="34" charset="0"/>
              <a:buChar char="–"/>
              <a:defRPr lang="en-US" sz="1100" b="0" i="0" smtClean="0">
                <a:solidFill>
                  <a:srgbClr val="003087"/>
                </a:solidFill>
                <a:latin typeface="+mn-lt"/>
                <a:cs typeface="Univers for KPMG" panose="020B0603020202020204" pitchFamily="34" charset="0"/>
              </a:defRPr>
            </a:lvl4pPr>
            <a:lvl5pPr>
              <a:spcBef>
                <a:spcPts val="0"/>
              </a:spcBef>
              <a:defRPr lang="en-US" sz="1000" b="0" i="0" dirty="0" smtClean="0">
                <a:solidFill>
                  <a:srgbClr val="003087"/>
                </a:solidFill>
                <a:latin typeface="+mn-lt"/>
                <a:cs typeface="Univers for KPMG" panose="020B0603020202020204" pitchFamily="34" charset="0"/>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smtClean="0"/>
          </a:p>
        </p:txBody>
      </p:sp>
      <p:sp>
        <p:nvSpPr>
          <p:cNvPr id="28" name="Text Placeholder 20"/>
          <p:cNvSpPr>
            <a:spLocks noGrp="1"/>
          </p:cNvSpPr>
          <p:nvPr>
            <p:ph type="body" sz="quarter" idx="50"/>
          </p:nvPr>
        </p:nvSpPr>
        <p:spPr bwMode="gray">
          <a:xfrm>
            <a:off x="7333406" y="1524000"/>
            <a:ext cx="3840480" cy="289143"/>
          </a:xfrm>
          <a:prstGeom prst="rect">
            <a:avLst/>
          </a:prstGeom>
          <a:solidFill>
            <a:srgbClr val="00338D"/>
          </a:solidFill>
          <a:ln w="12700">
            <a:solidFill>
              <a:schemeClr val="tx2"/>
            </a:solidFill>
          </a:ln>
        </p:spPr>
        <p:txBody>
          <a:bodyPr vert="horz" lIns="36000" tIns="36000" rIns="36000" bIns="36000" rtlCol="0" anchor="ctr" anchorCtr="0">
            <a:noAutofit/>
          </a:bodyPr>
          <a:lstStyle>
            <a:lvl1pPr algn="l">
              <a:defRPr lang="en-US" sz="1600" b="1" kern="1200" noProof="0" dirty="0" smtClean="0">
                <a:solidFill>
                  <a:schemeClr val="bg1"/>
                </a:solidFill>
                <a:latin typeface="Univers for KPMG" panose="020B0603020202020204"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820583" rtl="0" eaLnBrk="1" latinLnBrk="0" hangingPunct="1">
              <a:lnSpc>
                <a:spcPct val="100000"/>
              </a:lnSpc>
              <a:spcBef>
                <a:spcPts val="538"/>
              </a:spcBef>
              <a:buFont typeface="Arial" pitchFamily="34" charset="0"/>
              <a:buNone/>
            </a:pPr>
            <a:r>
              <a:rPr lang="en-US" noProof="0" smtClean="0"/>
              <a:t>Click to edit Master text styles</a:t>
            </a:r>
          </a:p>
        </p:txBody>
      </p:sp>
      <p:sp>
        <p:nvSpPr>
          <p:cNvPr id="29" name="Text Placeholder 20"/>
          <p:cNvSpPr>
            <a:spLocks noGrp="1"/>
          </p:cNvSpPr>
          <p:nvPr>
            <p:ph type="body" sz="quarter" idx="51"/>
          </p:nvPr>
        </p:nvSpPr>
        <p:spPr bwMode="gray">
          <a:xfrm>
            <a:off x="7333406" y="4301423"/>
            <a:ext cx="3840480" cy="1611737"/>
          </a:xfrm>
          <a:prstGeom prst="rect">
            <a:avLst/>
          </a:prstGeom>
          <a:solidFill>
            <a:schemeClr val="bg1"/>
          </a:solidFill>
          <a:ln w="6350">
            <a:solidFill>
              <a:schemeClr val="tx2"/>
            </a:solidFill>
          </a:ln>
        </p:spPr>
        <p:txBody>
          <a:bodyPr lIns="36000" tIns="36000" rIns="36000" bIns="36000"/>
          <a:lstStyle>
            <a:lvl1pPr>
              <a:spcBef>
                <a:spcPts val="0"/>
              </a:spcBef>
              <a:defRPr sz="1600" b="1">
                <a:solidFill>
                  <a:srgbClr val="00338D"/>
                </a:solidFill>
                <a:latin typeface="Univers for KPMG" panose="020B0603020202020204" pitchFamily="34" charset="0"/>
                <a:cs typeface="Univers for KPMG Light"/>
              </a:defRPr>
            </a:lvl1pPr>
            <a:lvl2pPr marL="0" indent="0">
              <a:spcBef>
                <a:spcPts val="0"/>
              </a:spcBef>
              <a:buFontTx/>
              <a:buNone/>
              <a:defRPr sz="1400" baseline="0">
                <a:solidFill>
                  <a:srgbClr val="00338D"/>
                </a:solidFill>
                <a:latin typeface="+mn-lt"/>
                <a:cs typeface="Univers for KPMG Light"/>
              </a:defRPr>
            </a:lvl2pPr>
            <a:lvl3pPr marL="283464" indent="-309600">
              <a:spcBef>
                <a:spcPts val="0"/>
              </a:spcBef>
              <a:buFont typeface="Univers for KPMG Light" panose="020B0403020202020204" pitchFamily="34" charset="0"/>
              <a:buChar char="—"/>
              <a:defRPr sz="1200">
                <a:solidFill>
                  <a:srgbClr val="00338D"/>
                </a:solidFill>
                <a:latin typeface="+mn-lt"/>
                <a:cs typeface="Univers for KPMG Light"/>
              </a:defRPr>
            </a:lvl3pPr>
            <a:lvl4pPr marL="576072" indent="-248400">
              <a:spcBef>
                <a:spcPts val="0"/>
              </a:spcBef>
              <a:buFont typeface="Univers for KPMG Light" panose="020B0403020202020204" pitchFamily="34" charset="0"/>
              <a:buChar char="–"/>
              <a:defRPr sz="1100">
                <a:latin typeface="+mn-lt"/>
              </a:defRPr>
            </a:lvl4pPr>
            <a:lvl5pPr>
              <a:spcBef>
                <a:spcPts val="0"/>
              </a:spcBef>
              <a:defRPr lang="en-US" sz="1000" b="0" i="0" dirty="0" smtClean="0">
                <a:solidFill>
                  <a:srgbClr val="003087"/>
                </a:solidFill>
                <a:latin typeface="+mn-lt"/>
                <a:cs typeface="Univers for KPMG" panose="020B0603020202020204" pitchFamily="34" charset="0"/>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smtClean="0"/>
          </a:p>
        </p:txBody>
      </p:sp>
      <p:sp>
        <p:nvSpPr>
          <p:cNvPr id="30" name="Text Placeholder 20"/>
          <p:cNvSpPr>
            <a:spLocks noGrp="1"/>
          </p:cNvSpPr>
          <p:nvPr>
            <p:ph type="body" sz="quarter" idx="52"/>
          </p:nvPr>
        </p:nvSpPr>
        <p:spPr bwMode="gray">
          <a:xfrm>
            <a:off x="7333406" y="3992059"/>
            <a:ext cx="3840480" cy="289143"/>
          </a:xfrm>
          <a:prstGeom prst="rect">
            <a:avLst/>
          </a:prstGeom>
          <a:solidFill>
            <a:srgbClr val="00338D"/>
          </a:solidFill>
          <a:ln w="12700">
            <a:solidFill>
              <a:schemeClr val="tx2"/>
            </a:solidFill>
          </a:ln>
        </p:spPr>
        <p:txBody>
          <a:bodyPr vert="horz" lIns="36000" tIns="36000" rIns="36000" bIns="36000" rtlCol="0" anchor="ctr" anchorCtr="0">
            <a:noAutofit/>
          </a:bodyPr>
          <a:lstStyle>
            <a:lvl1pPr algn="l">
              <a:defRPr lang="en-US" sz="1600" b="1" kern="1200" noProof="0" dirty="0" smtClean="0">
                <a:solidFill>
                  <a:schemeClr val="bg1"/>
                </a:solidFill>
                <a:latin typeface="Univers for KPMG" panose="020B0603020202020204"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820583" rtl="0" eaLnBrk="1" latinLnBrk="0" hangingPunct="1">
              <a:lnSpc>
                <a:spcPct val="100000"/>
              </a:lnSpc>
              <a:spcBef>
                <a:spcPts val="538"/>
              </a:spcBef>
              <a:buFont typeface="Arial" pitchFamily="34" charset="0"/>
              <a:buNone/>
            </a:pPr>
            <a:r>
              <a:rPr lang="en-US" noProof="0" smtClean="0"/>
              <a:t>Click to edit Master text styles</a:t>
            </a:r>
          </a:p>
        </p:txBody>
      </p:sp>
      <p:sp>
        <p:nvSpPr>
          <p:cNvPr id="31" name="AutoShape 20"/>
          <p:cNvSpPr>
            <a:spLocks noChangeArrowheads="1"/>
          </p:cNvSpPr>
          <p:nvPr userDrawn="1"/>
        </p:nvSpPr>
        <p:spPr bwMode="gray">
          <a:xfrm rot="2700000">
            <a:off x="4957158" y="2917790"/>
            <a:ext cx="360000" cy="360000"/>
          </a:xfrm>
          <a:prstGeom prst="rightArrow">
            <a:avLst>
              <a:gd name="adj1" fmla="val 63333"/>
              <a:gd name="adj2" fmla="val 49582"/>
            </a:avLst>
          </a:prstGeom>
          <a:solidFill>
            <a:srgbClr val="00338D"/>
          </a:solidFill>
          <a:ln w="6350" algn="ctr">
            <a:noFill/>
            <a:miter lim="800000"/>
            <a:headEnd/>
            <a:tailEnd/>
          </a:ln>
          <a:effectLst/>
        </p:spPr>
        <p:txBody>
          <a:bodyPr rot="10800000" wrap="none" lIns="82058" tIns="41029" rIns="82058" bIns="41029" anchor="ctr"/>
          <a:lstStyle/>
          <a:p>
            <a:pPr defTabSz="488582"/>
            <a:endParaRPr lang="en-CA" sz="1867" dirty="0">
              <a:solidFill>
                <a:srgbClr val="483698"/>
              </a:solidFill>
            </a:endParaRPr>
          </a:p>
        </p:txBody>
      </p:sp>
      <p:sp>
        <p:nvSpPr>
          <p:cNvPr id="32" name="AutoShape 20"/>
          <p:cNvSpPr>
            <a:spLocks noChangeArrowheads="1"/>
          </p:cNvSpPr>
          <p:nvPr userDrawn="1"/>
        </p:nvSpPr>
        <p:spPr bwMode="gray">
          <a:xfrm rot="18900000" flipH="1">
            <a:off x="6851034" y="2917790"/>
            <a:ext cx="360000" cy="360000"/>
          </a:xfrm>
          <a:prstGeom prst="rightArrow">
            <a:avLst>
              <a:gd name="adj1" fmla="val 63333"/>
              <a:gd name="adj2" fmla="val 49582"/>
            </a:avLst>
          </a:prstGeom>
          <a:solidFill>
            <a:srgbClr val="00338D"/>
          </a:solidFill>
          <a:ln w="6350" algn="ctr">
            <a:noFill/>
            <a:miter lim="800000"/>
            <a:headEnd/>
            <a:tailEnd/>
          </a:ln>
          <a:effectLst/>
        </p:spPr>
        <p:txBody>
          <a:bodyPr rot="10800000" wrap="none" lIns="82058" tIns="41029" rIns="82058" bIns="41029" anchor="ctr"/>
          <a:lstStyle/>
          <a:p>
            <a:pPr defTabSz="488582"/>
            <a:endParaRPr lang="en-CA" sz="1867" dirty="0">
              <a:solidFill>
                <a:srgbClr val="483698"/>
              </a:solidFill>
            </a:endParaRPr>
          </a:p>
        </p:txBody>
      </p:sp>
    </p:spTree>
    <p:extLst>
      <p:ext uri="{BB962C8B-B14F-4D97-AF65-F5344CB8AC3E}">
        <p14:creationId xmlns:p14="http://schemas.microsoft.com/office/powerpoint/2010/main" val="22494676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Imag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flipH="1">
            <a:off x="0" y="0"/>
            <a:ext cx="12192000" cy="6858000"/>
          </a:xfrm>
          <a:prstGeom prst="rect">
            <a:avLst/>
          </a:prstGeom>
        </p:spPr>
      </p:pic>
      <p:sp>
        <p:nvSpPr>
          <p:cNvPr id="7" name="Text Placeholder 6"/>
          <p:cNvSpPr>
            <a:spLocks noGrp="1"/>
          </p:cNvSpPr>
          <p:nvPr>
            <p:ph type="body" sz="quarter" idx="11"/>
          </p:nvPr>
        </p:nvSpPr>
        <p:spPr bwMode="gray">
          <a:xfrm>
            <a:off x="871699" y="4758219"/>
            <a:ext cx="7288203" cy="676656"/>
          </a:xfrm>
          <a:prstGeom prst="rect">
            <a:avLst/>
          </a:prstGeom>
        </p:spPr>
        <p:txBody>
          <a:bodyPr vert="horz" wrap="square" lIns="0" tIns="0" rIns="0" bIns="0">
            <a:noAutofit/>
          </a:bodyPr>
          <a:lstStyle>
            <a:lvl1pPr>
              <a:spcBef>
                <a:spcPts val="299"/>
              </a:spcBef>
              <a:spcAft>
                <a:spcPts val="0"/>
              </a:spcAft>
              <a:defRPr sz="1400" b="1" i="0">
                <a:solidFill>
                  <a:srgbClr val="FFFFFF"/>
                </a:solidFill>
                <a:latin typeface="Univers for KPMG"/>
                <a:cs typeface="Univers for KPMG"/>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noProof="0" smtClean="0"/>
              <a:t>Click to edit Master text styles</a:t>
            </a:r>
          </a:p>
        </p:txBody>
      </p:sp>
      <p:sp>
        <p:nvSpPr>
          <p:cNvPr id="10" name="Title 2"/>
          <p:cNvSpPr>
            <a:spLocks noGrp="1"/>
          </p:cNvSpPr>
          <p:nvPr>
            <p:ph type="title"/>
          </p:nvPr>
        </p:nvSpPr>
        <p:spPr bwMode="gray">
          <a:xfrm>
            <a:off x="871699" y="1390650"/>
            <a:ext cx="7313602" cy="2572292"/>
          </a:xfrm>
          <a:prstGeom prst="rect">
            <a:avLst/>
          </a:prstGeom>
        </p:spPr>
        <p:txBody>
          <a:bodyPr wrap="square" lIns="0" tIns="0" rIns="0" bIns="0" anchor="t" anchorCtr="0">
            <a:noAutofit/>
          </a:bodyPr>
          <a:lstStyle>
            <a:lvl1pPr>
              <a:lnSpc>
                <a:spcPts val="9866"/>
              </a:lnSpc>
              <a:defRPr sz="11000">
                <a:solidFill>
                  <a:schemeClr val="bg1"/>
                </a:solidFill>
                <a:latin typeface="KPMG Extralight"/>
                <a:cs typeface="KPMG Extralight"/>
              </a:defRPr>
            </a:lvl1pPr>
          </a:lstStyle>
          <a:p>
            <a:r>
              <a:rPr lang="en-US" noProof="0" smtClean="0"/>
              <a:t>Click to edit Master title style</a:t>
            </a:r>
            <a:endParaRPr lang="en-CA" noProof="0" dirty="0"/>
          </a:p>
        </p:txBody>
      </p:sp>
      <p:pic>
        <p:nvPicPr>
          <p:cNvPr id="9" name="Picture 4" descr="KPMG_NoCP_white_US_283_6780.eps"/>
          <p:cNvPicPr>
            <a:picLocks noChangeAspect="1"/>
          </p:cNvPicPr>
          <p:nvPr userDrawn="1"/>
        </p:nvPicPr>
        <p:blipFill rotWithShape="1">
          <a:blip r:embed="rId7" cstate="email">
            <a:extLst>
              <a:ext uri="{28A0092B-C50C-407E-A947-70E740481C1C}">
                <a14:useLocalDpi xmlns:a14="http://schemas.microsoft.com/office/drawing/2010/main"/>
              </a:ext>
            </a:extLst>
          </a:blip>
          <a:srcRect l="7816" t="22176" r="7816" b="22176"/>
          <a:stretch/>
        </p:blipFill>
        <p:spPr bwMode="gray">
          <a:xfrm>
            <a:off x="871699" y="616555"/>
            <a:ext cx="1255552" cy="593672"/>
          </a:xfrm>
          <a:prstGeom prst="rect">
            <a:avLst/>
          </a:prstGeom>
        </p:spPr>
      </p:pic>
    </p:spTree>
    <p:extLst>
      <p:ext uri="{BB962C8B-B14F-4D97-AF65-F5344CB8AC3E}">
        <p14:creationId xmlns:p14="http://schemas.microsoft.com/office/powerpoint/2010/main" val="2079768420"/>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00215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 BLUE Comparison">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object 3"/>
          <p:cNvSpPr/>
          <p:nvPr userDrawn="1"/>
        </p:nvSpPr>
        <p:spPr bwMode="gray">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8582"/>
            <a:endParaRPr lang="en-CA" sz="1867" dirty="0">
              <a:solidFill>
                <a:srgbClr val="000000"/>
              </a:solidFill>
              <a:latin typeface="Arial" panose="020B0604020202020204" pitchFamily="34" charset="0"/>
            </a:endParaRPr>
          </a:p>
        </p:txBody>
      </p:sp>
      <p:sp>
        <p:nvSpPr>
          <p:cNvPr id="5" name="Text Placeholder 20"/>
          <p:cNvSpPr>
            <a:spLocks noGrp="1"/>
          </p:cNvSpPr>
          <p:nvPr>
            <p:ph type="body" sz="quarter" idx="26"/>
          </p:nvPr>
        </p:nvSpPr>
        <p:spPr bwMode="gray">
          <a:xfrm>
            <a:off x="1016000" y="1533974"/>
            <a:ext cx="4866411" cy="438511"/>
          </a:xfrm>
          <a:prstGeom prst="rect">
            <a:avLst/>
          </a:prstGeom>
          <a:solidFill>
            <a:schemeClr val="accent1"/>
          </a:solidFill>
          <a:ln w="12700">
            <a:noFill/>
          </a:ln>
        </p:spPr>
        <p:txBody>
          <a:bodyPr vert="horz" lIns="36000" tIns="36000" rIns="36000" bIns="36000" rtlCol="0" anchor="ctr" anchorCtr="0">
            <a:noAutofit/>
          </a:bodyPr>
          <a:lstStyle>
            <a:lvl1pPr algn="l">
              <a:lnSpc>
                <a:spcPct val="90000"/>
              </a:lnSpc>
              <a:spcBef>
                <a:spcPts val="0"/>
              </a:spcBef>
              <a:defRPr lang="en-US" sz="18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6" name="Text Placeholder 20"/>
          <p:cNvSpPr>
            <a:spLocks noGrp="1"/>
          </p:cNvSpPr>
          <p:nvPr>
            <p:ph type="body" sz="quarter" idx="27"/>
          </p:nvPr>
        </p:nvSpPr>
        <p:spPr bwMode="gray">
          <a:xfrm>
            <a:off x="6309594" y="1533974"/>
            <a:ext cx="4864292" cy="438511"/>
          </a:xfrm>
          <a:prstGeom prst="rect">
            <a:avLst/>
          </a:prstGeom>
          <a:solidFill>
            <a:schemeClr val="accent1"/>
          </a:solidFill>
          <a:ln w="12700">
            <a:noFill/>
          </a:ln>
        </p:spPr>
        <p:txBody>
          <a:bodyPr vert="horz" lIns="36000" tIns="36000" rIns="36000" bIns="36000" rtlCol="0" anchor="ctr" anchorCtr="0">
            <a:noAutofit/>
          </a:bodyPr>
          <a:lstStyle>
            <a:lvl1pPr algn="l">
              <a:lnSpc>
                <a:spcPct val="90000"/>
              </a:lnSpc>
              <a:spcBef>
                <a:spcPts val="0"/>
              </a:spcBef>
              <a:defRPr lang="en-US" sz="18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77165" rtl="0" eaLnBrk="1" latinLnBrk="0" hangingPunct="1">
              <a:lnSpc>
                <a:spcPct val="100000"/>
              </a:lnSpc>
              <a:spcBef>
                <a:spcPts val="641"/>
              </a:spcBef>
              <a:buFont typeface="Arial" pitchFamily="34" charset="0"/>
              <a:buNone/>
            </a:pPr>
            <a:r>
              <a:rPr lang="en-US" noProof="0" smtClean="0"/>
              <a:t>Click to edit Master text styles</a:t>
            </a:r>
          </a:p>
        </p:txBody>
      </p:sp>
      <p:sp>
        <p:nvSpPr>
          <p:cNvPr id="8" name="Text Placeholder 7"/>
          <p:cNvSpPr>
            <a:spLocks noGrp="1"/>
          </p:cNvSpPr>
          <p:nvPr>
            <p:ph type="body" sz="quarter" idx="15"/>
          </p:nvPr>
        </p:nvSpPr>
        <p:spPr bwMode="gray">
          <a:xfrm>
            <a:off x="1016002" y="2050311"/>
            <a:ext cx="4866409" cy="3855190"/>
          </a:xfrm>
          <a:prstGeom prst="rect">
            <a:avLst/>
          </a:prstGeom>
        </p:spPr>
        <p:txBody>
          <a:bodyPr vert="horz" lIns="36000" tIns="36000" rIns="36000" bIns="36000"/>
          <a:lstStyle>
            <a:lvl1pPr>
              <a:defRPr sz="1800" b="1" i="0">
                <a:solidFill>
                  <a:schemeClr val="bg1"/>
                </a:solidFill>
                <a:latin typeface="Univers for KPMG"/>
                <a:cs typeface="Univers for KPMG"/>
              </a:defRPr>
            </a:lvl1pPr>
            <a:lvl2pPr>
              <a:defRPr>
                <a:solidFill>
                  <a:schemeClr val="bg1"/>
                </a:solidFill>
                <a:latin typeface="+mn-lt"/>
                <a:cs typeface="Univers for KPMG Light"/>
              </a:defRPr>
            </a:lvl2pPr>
            <a:lvl3pPr>
              <a:defRPr>
                <a:solidFill>
                  <a:schemeClr val="bg1"/>
                </a:solidFill>
                <a:latin typeface="+mn-lt"/>
                <a:cs typeface="Univers for KPMG Light"/>
              </a:defRPr>
            </a:lvl3pPr>
            <a:lvl4pPr>
              <a:buClr>
                <a:schemeClr val="bg1"/>
              </a:buClr>
              <a:defRPr>
                <a:solidFill>
                  <a:schemeClr val="bg1"/>
                </a:solidFill>
                <a:latin typeface="+mn-lt"/>
                <a:cs typeface="Univers for KPMG Light"/>
              </a:defRPr>
            </a:lvl4pPr>
            <a:lvl5pPr>
              <a:buClr>
                <a:schemeClr val="bg1"/>
              </a:buClr>
              <a:defRPr lang="en-US" sz="1100" kern="1200" dirty="0" smtClean="0">
                <a:solidFill>
                  <a:schemeClr val="bg1"/>
                </a:solidFill>
                <a:latin typeface="+mn-lt"/>
                <a:ea typeface="+mn-ea"/>
                <a:cs typeface="Univers for KPMG Ligh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9" name="Text Placeholder 7"/>
          <p:cNvSpPr>
            <a:spLocks noGrp="1"/>
          </p:cNvSpPr>
          <p:nvPr>
            <p:ph type="body" sz="quarter" idx="28"/>
          </p:nvPr>
        </p:nvSpPr>
        <p:spPr bwMode="gray">
          <a:xfrm>
            <a:off x="6309594" y="2050311"/>
            <a:ext cx="4864292" cy="3855190"/>
          </a:xfrm>
          <a:prstGeom prst="rect">
            <a:avLst/>
          </a:prstGeom>
        </p:spPr>
        <p:txBody>
          <a:bodyPr vert="horz" lIns="36000" tIns="36000" rIns="36000" bIns="36000"/>
          <a:lstStyle>
            <a:lvl1pPr>
              <a:defRPr sz="1800" b="1" i="0">
                <a:solidFill>
                  <a:schemeClr val="bg1"/>
                </a:solidFill>
                <a:latin typeface="Univers for KPMG"/>
                <a:cs typeface="Univers for KPMG"/>
              </a:defRPr>
            </a:lvl1pPr>
            <a:lvl2pPr>
              <a:defRPr>
                <a:solidFill>
                  <a:schemeClr val="bg1"/>
                </a:solidFill>
                <a:latin typeface="+mn-lt"/>
                <a:cs typeface="Univers for KPMG Light"/>
              </a:defRPr>
            </a:lvl2pPr>
            <a:lvl3pPr>
              <a:defRPr>
                <a:solidFill>
                  <a:schemeClr val="bg1"/>
                </a:solidFill>
                <a:latin typeface="+mn-lt"/>
                <a:cs typeface="Univers for KPMG Light"/>
              </a:defRPr>
            </a:lvl3pPr>
            <a:lvl4pPr>
              <a:buClr>
                <a:schemeClr val="bg1"/>
              </a:buClr>
              <a:defRPr>
                <a:solidFill>
                  <a:schemeClr val="bg1"/>
                </a:solidFill>
                <a:latin typeface="+mn-lt"/>
                <a:cs typeface="Univers for KPMG Light"/>
              </a:defRPr>
            </a:lvl4pPr>
            <a:lvl5pPr>
              <a:buClr>
                <a:schemeClr val="bg1"/>
              </a:buClr>
              <a:defRPr>
                <a:solidFill>
                  <a:schemeClr val="bg1"/>
                </a:solidFill>
                <a:latin typeface="+mn-lt"/>
                <a:cs typeface="Univers for KPMG Ligh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317" t="20408" b="21208"/>
          <a:stretch/>
        </p:blipFill>
        <p:spPr bwMode="gray">
          <a:xfrm>
            <a:off x="854133" y="6154231"/>
            <a:ext cx="957094" cy="411480"/>
          </a:xfrm>
          <a:prstGeom prst="rect">
            <a:avLst/>
          </a:prstGeom>
        </p:spPr>
      </p:pic>
      <p:sp>
        <p:nvSpPr>
          <p:cNvPr id="11" name="Shape 36"/>
          <p:cNvSpPr/>
          <p:nvPr userDrawn="1"/>
        </p:nvSpPr>
        <p:spPr bwMode="gray">
          <a:xfrm>
            <a:off x="1946331" y="6246976"/>
            <a:ext cx="8017133" cy="455828"/>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a:defRPr sz="1800">
                <a:solidFill>
                  <a:srgbClr val="000000"/>
                </a:solidFill>
              </a:defRPr>
            </a:pPr>
            <a:r>
              <a:rPr lang="en-CA" sz="1800" dirty="0" smtClean="0">
                <a:solidFill>
                  <a:prstClr val="white"/>
                </a:solidFill>
                <a:latin typeface="Univers for KPMG Light"/>
                <a:ea typeface="Univers for KPMG Light"/>
                <a:cs typeface="Univers for KPMG Light"/>
              </a:rPr>
              <a:t>© 2016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14" name="Title 1"/>
          <p:cNvSpPr>
            <a:spLocks noGrp="1"/>
          </p:cNvSpPr>
          <p:nvPr>
            <p:ph type="title"/>
          </p:nvPr>
        </p:nvSpPr>
        <p:spPr>
          <a:xfrm>
            <a:off x="996951" y="538843"/>
            <a:ext cx="10176935" cy="704858"/>
          </a:xfrm>
        </p:spPr>
        <p:txBody>
          <a:bodyPr/>
          <a:lstStyle>
            <a:lvl1pPr>
              <a:defRPr>
                <a:solidFill>
                  <a:schemeClr val="bg1"/>
                </a:solidFill>
              </a:defRPr>
            </a:lvl1pPr>
          </a:lstStyle>
          <a:p>
            <a:r>
              <a:rPr lang="en-US" noProof="0" smtClean="0"/>
              <a:t>Click to edit Master title style</a:t>
            </a:r>
            <a:endParaRPr lang="en-CA" noProof="0" dirty="0"/>
          </a:p>
        </p:txBody>
      </p:sp>
      <p:sp>
        <p:nvSpPr>
          <p:cNvPr id="15" name="Rectangle 5"/>
          <p:cNvSpPr>
            <a:spLocks noChangeArrowheads="1"/>
          </p:cNvSpPr>
          <p:nvPr userDrawn="1"/>
        </p:nvSpPr>
        <p:spPr bwMode="gray">
          <a:xfrm>
            <a:off x="10766737" y="6340782"/>
            <a:ext cx="4293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p>
            <a:pPr algn="r" defTabSz="410291">
              <a:spcBef>
                <a:spcPct val="0"/>
              </a:spcBef>
            </a:pPr>
            <a:fld id="{265D3556-F56D-4236-A1D8-043C81B3544D}" type="slidenum">
              <a:rPr lang="en-CA" sz="1200">
                <a:solidFill>
                  <a:prstClr val="white"/>
                </a:solidFill>
                <a:latin typeface="Univers for KPMG Light" panose="020B0403020202020204" pitchFamily="34" charset="0"/>
                <a:cs typeface="Arial" panose="020B0604020202020204" pitchFamily="34" charset="0"/>
              </a:rPr>
              <a:pPr algn="r" defTabSz="410291">
                <a:spcBef>
                  <a:spcPct val="0"/>
                </a:spcBef>
              </a:pPr>
              <a:t>‹#›</a:t>
            </a:fld>
            <a:endParaRPr lang="en-CA" sz="1200" dirty="0">
              <a:solidFill>
                <a:prstClr val="white"/>
              </a:solidFill>
              <a:latin typeface="Univers for KPMG Light" panose="020B0403020202020204" pitchFamily="34" charset="0"/>
              <a:cs typeface="Arial" panose="020B0604020202020204" pitchFamily="34" charset="0"/>
            </a:endParaRPr>
          </a:p>
        </p:txBody>
      </p:sp>
    </p:spTree>
    <p:extLst>
      <p:ext uri="{BB962C8B-B14F-4D97-AF65-F5344CB8AC3E}">
        <p14:creationId xmlns:p14="http://schemas.microsoft.com/office/powerpoint/2010/main" val="10816534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sp>
        <p:nvSpPr>
          <p:cNvPr id="9" name="object 3"/>
          <p:cNvSpPr/>
          <p:nvPr userDrawn="1"/>
        </p:nvSpPr>
        <p:spPr bwMode="gray">
          <a:xfrm>
            <a:off x="-1" y="0"/>
            <a:ext cx="1219200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2"/>
          </a:solidFill>
        </p:spPr>
        <p:txBody>
          <a:bodyPr wrap="square" lIns="0" tIns="0" rIns="0" bIns="0" rtlCol="0">
            <a:noAutofit/>
          </a:bodyPr>
          <a:lstStyle/>
          <a:p>
            <a:pPr defTabSz="488582"/>
            <a:endParaRPr lang="en-CA" sz="1867" dirty="0">
              <a:solidFill>
                <a:srgbClr val="000000"/>
              </a:solidFill>
              <a:latin typeface="Arial" panose="020B0604020202020204" pitchFamily="34" charset="0"/>
            </a:endParaRPr>
          </a:p>
        </p:txBody>
      </p:sp>
      <p:graphicFrame>
        <p:nvGraphicFramePr>
          <p:cNvPr id="2" name="Obje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2"/>
          <p:cNvSpPr>
            <a:spLocks noGrp="1"/>
          </p:cNvSpPr>
          <p:nvPr>
            <p:ph type="title"/>
          </p:nvPr>
        </p:nvSpPr>
        <p:spPr bwMode="gray">
          <a:xfrm>
            <a:off x="2057402" y="1392331"/>
            <a:ext cx="8247961" cy="2618236"/>
          </a:xfrm>
          <a:prstGeom prst="rect">
            <a:avLst/>
          </a:prstGeom>
        </p:spPr>
        <p:txBody>
          <a:bodyPr lIns="0" tIns="0" rIns="0" bIns="0" anchor="t" anchorCtr="0">
            <a:noAutofit/>
          </a:bodyPr>
          <a:lstStyle>
            <a:lvl1pPr>
              <a:lnSpc>
                <a:spcPts val="9866"/>
              </a:lnSpc>
              <a:defRPr sz="11000">
                <a:solidFill>
                  <a:schemeClr val="bg1"/>
                </a:solidFill>
                <a:latin typeface="KPMG Extralight"/>
                <a:cs typeface="KPMG Extralight"/>
              </a:defRPr>
            </a:lvl1pPr>
          </a:lstStyle>
          <a:p>
            <a:r>
              <a:rPr lang="en-US" noProof="0" smtClean="0"/>
              <a:t>Click to edit Master title style</a:t>
            </a:r>
            <a:endParaRPr lang="en-CA" noProof="0" dirty="0"/>
          </a:p>
        </p:txBody>
      </p:sp>
      <p:pic>
        <p:nvPicPr>
          <p:cNvPr id="5" name="Picture 4"/>
          <p:cNvPicPr>
            <a:picLocks noChangeAspect="1"/>
          </p:cNvPicPr>
          <p:nvPr userDrawn="1"/>
        </p:nvPicPr>
        <p:blipFill rotWithShape="1">
          <a:blip r:embed="rId6" cstate="print">
            <a:extLst>
              <a:ext uri="{28A0092B-C50C-407E-A947-70E740481C1C}">
                <a14:useLocalDpi xmlns:a14="http://schemas.microsoft.com/office/drawing/2010/main" val="0"/>
              </a:ext>
            </a:extLst>
          </a:blip>
          <a:srcRect l="-317" t="20408" b="21208"/>
          <a:stretch/>
        </p:blipFill>
        <p:spPr bwMode="gray">
          <a:xfrm>
            <a:off x="1885609" y="598984"/>
            <a:ext cx="1488813" cy="640080"/>
          </a:xfrm>
          <a:prstGeom prst="rect">
            <a:avLst/>
          </a:prstGeom>
        </p:spPr>
      </p:pic>
      <p:sp>
        <p:nvSpPr>
          <p:cNvPr id="11" name="object 3"/>
          <p:cNvSpPr/>
          <p:nvPr userDrawn="1"/>
        </p:nvSpPr>
        <p:spPr bwMode="gray">
          <a:xfrm>
            <a:off x="0" y="0"/>
            <a:ext cx="996953"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8582"/>
            <a:endParaRPr lang="en-CA" sz="1867" dirty="0">
              <a:solidFill>
                <a:srgbClr val="000000"/>
              </a:solidFill>
              <a:latin typeface="Arial" panose="020B0604020202020204" pitchFamily="34" charset="0"/>
            </a:endParaRPr>
          </a:p>
        </p:txBody>
      </p:sp>
      <p:sp>
        <p:nvSpPr>
          <p:cNvPr id="12" name="Text Placeholder 6"/>
          <p:cNvSpPr>
            <a:spLocks noGrp="1"/>
          </p:cNvSpPr>
          <p:nvPr>
            <p:ph type="body" sz="quarter" idx="11"/>
          </p:nvPr>
        </p:nvSpPr>
        <p:spPr bwMode="gray">
          <a:xfrm>
            <a:off x="2057402" y="4335450"/>
            <a:ext cx="8247961" cy="672353"/>
          </a:xfrm>
          <a:prstGeom prst="rect">
            <a:avLst/>
          </a:prstGeom>
        </p:spPr>
        <p:txBody>
          <a:bodyPr vert="horz" lIns="0" tIns="0" rIns="0" bIns="0"/>
          <a:lstStyle>
            <a:lvl1pPr>
              <a:spcBef>
                <a:spcPts val="0"/>
              </a:spcBef>
              <a:spcAft>
                <a:spcPts val="0"/>
              </a:spcAft>
              <a:defRPr sz="1600" b="1" i="0">
                <a:solidFill>
                  <a:srgbClr val="FFFFFF"/>
                </a:solidFill>
                <a:latin typeface="+mn-lt"/>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noProof="0" smtClean="0"/>
              <a:t>Click to edit Master text styles</a:t>
            </a:r>
          </a:p>
        </p:txBody>
      </p:sp>
    </p:spTree>
    <p:extLst>
      <p:ext uri="{BB962C8B-B14F-4D97-AF65-F5344CB8AC3E}">
        <p14:creationId xmlns:p14="http://schemas.microsoft.com/office/powerpoint/2010/main" val="331307276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9" name="object 3"/>
          <p:cNvSpPr/>
          <p:nvPr userDrawn="1"/>
        </p:nvSpPr>
        <p:spPr bwMode="ltGray">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2"/>
          </a:solidFill>
        </p:spPr>
        <p:txBody>
          <a:bodyPr wrap="square" lIns="0" tIns="0" rIns="0" bIns="0" rtlCol="0">
            <a:noAutofit/>
          </a:bodyPr>
          <a:lstStyle/>
          <a:p>
            <a:pPr defTabSz="488582"/>
            <a:endParaRPr lang="en-CA" sz="1867" dirty="0">
              <a:solidFill>
                <a:srgbClr val="000000"/>
              </a:solidFill>
              <a:latin typeface="Arial" panose="020B0604020202020204" pitchFamily="34" charset="0"/>
            </a:endParaRPr>
          </a:p>
        </p:txBody>
      </p:sp>
      <p:graphicFrame>
        <p:nvGraphicFramePr>
          <p:cNvPr id="2" name="Obje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2"/>
          <p:cNvSpPr>
            <a:spLocks noGrp="1"/>
          </p:cNvSpPr>
          <p:nvPr>
            <p:ph type="title"/>
          </p:nvPr>
        </p:nvSpPr>
        <p:spPr bwMode="gray">
          <a:xfrm>
            <a:off x="2057402" y="1392331"/>
            <a:ext cx="8247961" cy="2618236"/>
          </a:xfrm>
          <a:prstGeom prst="rect">
            <a:avLst/>
          </a:prstGeom>
        </p:spPr>
        <p:txBody>
          <a:bodyPr lIns="0" tIns="0" rIns="0" bIns="0" anchor="t" anchorCtr="0">
            <a:noAutofit/>
          </a:bodyPr>
          <a:lstStyle>
            <a:lvl1pPr>
              <a:lnSpc>
                <a:spcPts val="9866"/>
              </a:lnSpc>
              <a:defRPr sz="11000">
                <a:solidFill>
                  <a:schemeClr val="bg1"/>
                </a:solidFill>
                <a:latin typeface="KPMG Extralight"/>
                <a:cs typeface="KPMG Extralight"/>
              </a:defRPr>
            </a:lvl1pPr>
          </a:lstStyle>
          <a:p>
            <a:r>
              <a:rPr lang="en-US" noProof="0" smtClean="0"/>
              <a:t>Click to edit Master title style</a:t>
            </a:r>
            <a:endParaRPr lang="en-CA" noProof="0" dirty="0"/>
          </a:p>
        </p:txBody>
      </p:sp>
      <p:pic>
        <p:nvPicPr>
          <p:cNvPr id="5" name="Picture 4"/>
          <p:cNvPicPr>
            <a:picLocks noChangeAspect="1"/>
          </p:cNvPicPr>
          <p:nvPr userDrawn="1"/>
        </p:nvPicPr>
        <p:blipFill rotWithShape="1">
          <a:blip r:embed="rId6" cstate="print">
            <a:extLst>
              <a:ext uri="{28A0092B-C50C-407E-A947-70E740481C1C}">
                <a14:useLocalDpi xmlns:a14="http://schemas.microsoft.com/office/drawing/2010/main" val="0"/>
              </a:ext>
            </a:extLst>
          </a:blip>
          <a:srcRect l="-317" t="20408" b="21208"/>
          <a:stretch/>
        </p:blipFill>
        <p:spPr bwMode="gray">
          <a:xfrm>
            <a:off x="1885609" y="598984"/>
            <a:ext cx="1488813" cy="640080"/>
          </a:xfrm>
          <a:prstGeom prst="rect">
            <a:avLst/>
          </a:prstGeom>
        </p:spPr>
      </p:pic>
      <p:sp>
        <p:nvSpPr>
          <p:cNvPr id="11" name="object 3"/>
          <p:cNvSpPr/>
          <p:nvPr userDrawn="1"/>
        </p:nvSpPr>
        <p:spPr bwMode="gray">
          <a:xfrm>
            <a:off x="0" y="0"/>
            <a:ext cx="996953"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8582"/>
            <a:endParaRPr lang="en-CA" sz="1867" dirty="0">
              <a:solidFill>
                <a:srgbClr val="000000"/>
              </a:solidFill>
              <a:latin typeface="Arial" panose="020B0604020202020204" pitchFamily="34" charset="0"/>
            </a:endParaRPr>
          </a:p>
        </p:txBody>
      </p:sp>
      <p:sp>
        <p:nvSpPr>
          <p:cNvPr id="8" name="Shape 36"/>
          <p:cNvSpPr/>
          <p:nvPr userDrawn="1"/>
        </p:nvSpPr>
        <p:spPr bwMode="gray">
          <a:xfrm>
            <a:off x="2057402" y="6246976"/>
            <a:ext cx="8658223" cy="455828"/>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a:defRPr sz="1800">
                <a:solidFill>
                  <a:srgbClr val="000000"/>
                </a:solidFill>
              </a:defRPr>
            </a:pPr>
            <a:r>
              <a:rPr lang="en-US" dirty="0" smtClean="0">
                <a:solidFill>
                  <a:prstClr val="white"/>
                </a:solidFill>
                <a:latin typeface="Univers for KPMG Light"/>
                <a:ea typeface="Univers for KPMG Light"/>
                <a:cs typeface="Univers for KPMG Light"/>
              </a:rPr>
              <a:t>© 2017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a:t>
            </a:r>
            <a:endParaRPr lang="en-CA" dirty="0" smtClean="0">
              <a:solidFill>
                <a:prstClr val="white"/>
              </a:solidFill>
              <a:latin typeface="Univers for KPMG Light"/>
              <a:ea typeface="Univers for KPMG Light"/>
              <a:cs typeface="Univers for KPMG Light"/>
            </a:endParaRPr>
          </a:p>
        </p:txBody>
      </p:sp>
    </p:spTree>
    <p:extLst>
      <p:ext uri="{BB962C8B-B14F-4D97-AF65-F5344CB8AC3E}">
        <p14:creationId xmlns:p14="http://schemas.microsoft.com/office/powerpoint/2010/main" val="218401879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t="26128" b="25637"/>
          <a:stretch/>
        </p:blipFill>
        <p:spPr>
          <a:xfrm>
            <a:off x="1915230" y="649913"/>
            <a:ext cx="1411478" cy="502920"/>
          </a:xfrm>
          <a:prstGeom prst="rect">
            <a:avLst/>
          </a:prstGeom>
        </p:spPr>
      </p:pic>
      <p:sp>
        <p:nvSpPr>
          <p:cNvPr id="8" name="object 3"/>
          <p:cNvSpPr/>
          <p:nvPr userDrawn="1"/>
        </p:nvSpPr>
        <p:spPr>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8582"/>
            <a:endParaRPr lang="en-CA" sz="1867" dirty="0">
              <a:solidFill>
                <a:srgbClr val="000000"/>
              </a:solidFill>
            </a:endParaRPr>
          </a:p>
        </p:txBody>
      </p:sp>
      <p:sp>
        <p:nvSpPr>
          <p:cNvPr id="14" name="Shape 36"/>
          <p:cNvSpPr/>
          <p:nvPr userDrawn="1"/>
        </p:nvSpPr>
        <p:spPr>
          <a:xfrm>
            <a:off x="2101119" y="4894767"/>
            <a:ext cx="9066413" cy="1963233"/>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defTabSz="1219170">
              <a:defRPr sz="1800">
                <a:solidFill>
                  <a:srgbClr val="000000"/>
                </a:solidFill>
              </a:defRPr>
            </a:pPr>
            <a:r>
              <a:rPr lang="en-CA" sz="1000" dirty="0" smtClean="0">
                <a:solidFill>
                  <a:prstClr val="white">
                    <a:lumMod val="65000"/>
                  </a:prstClr>
                </a:solidFill>
                <a:latin typeface="Univers for KPMG" panose="020B0603020202020204" pitchFamily="34" charset="0"/>
                <a:ea typeface="Univers for KPMG Light"/>
                <a:cs typeface="Univers for KPMG Light"/>
              </a:rPr>
              <a:t>© 2016 KPMG LLP, a Canadian limited liability partnership and a member firm of the KPMG network of independent member firms affiliated with KPMG International Cooperative (“KPMG International”), a Swiss entity. All rights reserved. </a:t>
            </a:r>
          </a:p>
          <a:p>
            <a:pPr defTabSz="1219170">
              <a:defRPr sz="1800">
                <a:solidFill>
                  <a:srgbClr val="000000"/>
                </a:solidFill>
              </a:defRPr>
            </a:pPr>
            <a:endParaRPr lang="en-CA" sz="1000" dirty="0" smtClean="0">
              <a:solidFill>
                <a:prstClr val="white">
                  <a:lumMod val="65000"/>
                </a:prstClr>
              </a:solidFill>
              <a:latin typeface="Univers for KPMG" panose="020B0603020202020204" pitchFamily="34" charset="0"/>
              <a:ea typeface="Univers for KPMG Light"/>
              <a:cs typeface="Univers for KPMG Light"/>
            </a:endParaRPr>
          </a:p>
          <a:p>
            <a:pPr defTabSz="1219170">
              <a:defRPr sz="1800">
                <a:solidFill>
                  <a:srgbClr val="000000"/>
                </a:solidFill>
              </a:defRPr>
            </a:pPr>
            <a:r>
              <a:rPr lang="en-CA" sz="1000" dirty="0" smtClean="0">
                <a:solidFill>
                  <a:prstClr val="white">
                    <a:lumMod val="65000"/>
                  </a:prstClr>
                </a:solidFill>
                <a:latin typeface="Univers for KPMG" panose="020B0603020202020204" pitchFamily="34" charset="0"/>
                <a:ea typeface="Univers for KPMG Light"/>
                <a:cs typeface="Univers for KPMG Light"/>
              </a:rPr>
              <a:t>The KPMG name and logo are registered trademarks or trademarks of KPMG International.</a:t>
            </a:r>
          </a:p>
          <a:p>
            <a:pPr defTabSz="1219170">
              <a:defRPr sz="1800">
                <a:solidFill>
                  <a:srgbClr val="000000"/>
                </a:solidFill>
              </a:defRPr>
            </a:pPr>
            <a:endParaRPr lang="en-CA" sz="1000" dirty="0" smtClean="0">
              <a:solidFill>
                <a:prstClr val="white">
                  <a:lumMod val="65000"/>
                </a:prstClr>
              </a:solidFill>
              <a:latin typeface="Univers for KPMG" panose="020B0603020202020204" pitchFamily="34" charset="0"/>
              <a:ea typeface="Univers for KPMG Light"/>
              <a:cs typeface="Univers for KPMG Light"/>
            </a:endParaRPr>
          </a:p>
          <a:p>
            <a:pPr defTabSz="1219170">
              <a:defRPr sz="1800">
                <a:solidFill>
                  <a:srgbClr val="000000"/>
                </a:solidFill>
              </a:defRPr>
            </a:pPr>
            <a:r>
              <a:rPr lang="en-CA" sz="1000" dirty="0" smtClean="0">
                <a:solidFill>
                  <a:prstClr val="white">
                    <a:lumMod val="65000"/>
                  </a:prstClr>
                </a:solidFill>
                <a:latin typeface="Univers for KPMG" panose="020B0603020202020204" pitchFamily="34" charset="0"/>
                <a:ea typeface="Univers for KPMG Light"/>
                <a:cs typeface="Univers for KPMG Light"/>
              </a:rPr>
              <a:t>The information contained herein is of a general nature and is not intended to address the circumstances of any particular individual or entity. Although we endeavou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
        <p:nvSpPr>
          <p:cNvPr id="31" name="Rectangle 30">
            <a:hlinkClick r:id="rId3"/>
          </p:cNvPr>
          <p:cNvSpPr>
            <a:spLocks noChangeArrowheads="1"/>
          </p:cNvSpPr>
          <p:nvPr userDrawn="1"/>
        </p:nvSpPr>
        <p:spPr bwMode="gray">
          <a:xfrm>
            <a:off x="2127640" y="3735073"/>
            <a:ext cx="1752293" cy="246221"/>
          </a:xfrm>
          <a:prstGeom prst="rect">
            <a:avLst/>
          </a:prstGeom>
          <a:noFill/>
          <a:ln w="9525">
            <a:noFill/>
            <a:miter lim="800000"/>
            <a:headEnd/>
            <a:tailEnd/>
          </a:ln>
          <a:effectLst/>
        </p:spPr>
        <p:txBody>
          <a:bodyPr wrap="square" lIns="0" tIns="0" rIns="0" bIns="0" anchor="ctr">
            <a:spAutoFit/>
          </a:bodyPr>
          <a:lstStyle/>
          <a:p>
            <a:pPr defTabSz="410291">
              <a:defRPr/>
            </a:pPr>
            <a:r>
              <a:rPr lang="en-CA" sz="1600" b="1" kern="0" dirty="0" err="1">
                <a:solidFill>
                  <a:srgbClr val="00338D"/>
                </a:solidFill>
                <a:ea typeface="Times New Roman" pitchFamily="18" charset="0"/>
                <a:cs typeface="Univers for KPMG"/>
              </a:rPr>
              <a:t>kpmg.ca</a:t>
            </a:r>
            <a:endParaRPr lang="en-CA" sz="1600" b="1" kern="0" dirty="0">
              <a:solidFill>
                <a:srgbClr val="00338D"/>
              </a:solidFill>
              <a:cs typeface="Univers for KPMG"/>
            </a:endParaRPr>
          </a:p>
        </p:txBody>
      </p:sp>
      <p:grpSp>
        <p:nvGrpSpPr>
          <p:cNvPr id="32" name="Groupe 31"/>
          <p:cNvGrpSpPr/>
          <p:nvPr userDrawn="1"/>
        </p:nvGrpSpPr>
        <p:grpSpPr bwMode="gray">
          <a:xfrm>
            <a:off x="2128079" y="4068708"/>
            <a:ext cx="1799261" cy="417570"/>
            <a:chOff x="4324350" y="3017838"/>
            <a:chExt cx="3543300" cy="822325"/>
          </a:xfrm>
        </p:grpSpPr>
        <p:sp>
          <p:nvSpPr>
            <p:cNvPr id="33" name="AutoShape 3"/>
            <p:cNvSpPr>
              <a:spLocks noChangeAspect="1" noChangeArrowheads="1" noTextEdit="1"/>
            </p:cNvSpPr>
            <p:nvPr/>
          </p:nvSpPr>
          <p:spPr bwMode="gray">
            <a:xfrm>
              <a:off x="4324350" y="3017838"/>
              <a:ext cx="3543300"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10291"/>
              <a:endParaRPr lang="en-CA" sz="1600" dirty="0">
                <a:solidFill>
                  <a:srgbClr val="000000"/>
                </a:solidFill>
              </a:endParaRPr>
            </a:p>
          </p:txBody>
        </p:sp>
        <p:grpSp>
          <p:nvGrpSpPr>
            <p:cNvPr id="34" name="Groupe 33"/>
            <p:cNvGrpSpPr/>
            <p:nvPr/>
          </p:nvGrpSpPr>
          <p:grpSpPr bwMode="gray">
            <a:xfrm>
              <a:off x="4324350" y="3017838"/>
              <a:ext cx="808038" cy="817563"/>
              <a:chOff x="4324350" y="3017838"/>
              <a:chExt cx="808038" cy="817563"/>
            </a:xfrm>
          </p:grpSpPr>
          <p:sp>
            <p:nvSpPr>
              <p:cNvPr id="45" name="Freeform 8"/>
              <p:cNvSpPr>
                <a:spLocks/>
              </p:cNvSpPr>
              <p:nvPr/>
            </p:nvSpPr>
            <p:spPr bwMode="gray">
              <a:xfrm>
                <a:off x="4324350" y="3017838"/>
                <a:ext cx="808038" cy="817563"/>
              </a:xfrm>
              <a:custGeom>
                <a:avLst/>
                <a:gdLst>
                  <a:gd name="T0" fmla="*/ 199 w 215"/>
                  <a:gd name="T1" fmla="*/ 0 h 215"/>
                  <a:gd name="T2" fmla="*/ 16 w 215"/>
                  <a:gd name="T3" fmla="*/ 0 h 215"/>
                  <a:gd name="T4" fmla="*/ 0 w 215"/>
                  <a:gd name="T5" fmla="*/ 15 h 215"/>
                  <a:gd name="T6" fmla="*/ 0 w 215"/>
                  <a:gd name="T7" fmla="*/ 199 h 215"/>
                  <a:gd name="T8" fmla="*/ 16 w 215"/>
                  <a:gd name="T9" fmla="*/ 215 h 215"/>
                  <a:gd name="T10" fmla="*/ 199 w 215"/>
                  <a:gd name="T11" fmla="*/ 215 h 215"/>
                  <a:gd name="T12" fmla="*/ 215 w 215"/>
                  <a:gd name="T13" fmla="*/ 199 h 215"/>
                  <a:gd name="T14" fmla="*/ 215 w 215"/>
                  <a:gd name="T15" fmla="*/ 15 h 215"/>
                  <a:gd name="T16" fmla="*/ 199 w 21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15">
                    <a:moveTo>
                      <a:pt x="199" y="0"/>
                    </a:moveTo>
                    <a:cubicBezTo>
                      <a:pt x="16" y="0"/>
                      <a:pt x="16" y="0"/>
                      <a:pt x="16" y="0"/>
                    </a:cubicBezTo>
                    <a:cubicBezTo>
                      <a:pt x="7" y="0"/>
                      <a:pt x="0" y="7"/>
                      <a:pt x="0" y="15"/>
                    </a:cubicBezTo>
                    <a:cubicBezTo>
                      <a:pt x="0" y="199"/>
                      <a:pt x="0" y="199"/>
                      <a:pt x="0" y="199"/>
                    </a:cubicBezTo>
                    <a:cubicBezTo>
                      <a:pt x="0" y="208"/>
                      <a:pt x="7" y="215"/>
                      <a:pt x="16" y="215"/>
                    </a:cubicBezTo>
                    <a:cubicBezTo>
                      <a:pt x="199" y="215"/>
                      <a:pt x="199" y="215"/>
                      <a:pt x="199" y="215"/>
                    </a:cubicBezTo>
                    <a:cubicBezTo>
                      <a:pt x="207" y="215"/>
                      <a:pt x="215" y="208"/>
                      <a:pt x="215" y="199"/>
                    </a:cubicBezTo>
                    <a:cubicBezTo>
                      <a:pt x="215" y="15"/>
                      <a:pt x="215" y="15"/>
                      <a:pt x="215" y="15"/>
                    </a:cubicBezTo>
                    <a:cubicBezTo>
                      <a:pt x="215" y="7"/>
                      <a:pt x="207" y="0"/>
                      <a:pt x="199" y="0"/>
                    </a:cubicBezTo>
                  </a:path>
                </a:pathLst>
              </a:custGeom>
              <a:solidFill>
                <a:srgbClr val="007B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10291"/>
                <a:endParaRPr lang="en-CA" sz="1600" dirty="0">
                  <a:solidFill>
                    <a:srgbClr val="000000"/>
                  </a:solidFill>
                </a:endParaRPr>
              </a:p>
            </p:txBody>
          </p:sp>
          <p:sp>
            <p:nvSpPr>
              <p:cNvPr id="46" name="Freeform 9"/>
              <p:cNvSpPr>
                <a:spLocks noEditPoints="1"/>
              </p:cNvSpPr>
              <p:nvPr/>
            </p:nvSpPr>
            <p:spPr bwMode="gray">
              <a:xfrm>
                <a:off x="4433888" y="3127376"/>
                <a:ext cx="138113" cy="587375"/>
              </a:xfrm>
              <a:custGeom>
                <a:avLst/>
                <a:gdLst>
                  <a:gd name="T0" fmla="*/ 19 w 37"/>
                  <a:gd name="T1" fmla="*/ 0 h 154"/>
                  <a:gd name="T2" fmla="*/ 37 w 37"/>
                  <a:gd name="T3" fmla="*/ 19 h 154"/>
                  <a:gd name="T4" fmla="*/ 19 w 37"/>
                  <a:gd name="T5" fmla="*/ 37 h 154"/>
                  <a:gd name="T6" fmla="*/ 0 w 37"/>
                  <a:gd name="T7" fmla="*/ 19 h 154"/>
                  <a:gd name="T8" fmla="*/ 19 w 37"/>
                  <a:gd name="T9" fmla="*/ 0 h 154"/>
                  <a:gd name="T10" fmla="*/ 3 w 37"/>
                  <a:gd name="T11" fmla="*/ 51 h 154"/>
                  <a:gd name="T12" fmla="*/ 35 w 37"/>
                  <a:gd name="T13" fmla="*/ 51 h 154"/>
                  <a:gd name="T14" fmla="*/ 35 w 37"/>
                  <a:gd name="T15" fmla="*/ 154 h 154"/>
                  <a:gd name="T16" fmla="*/ 3 w 37"/>
                  <a:gd name="T17" fmla="*/ 154 h 154"/>
                  <a:gd name="T18" fmla="*/ 3 w 37"/>
                  <a:gd name="T19" fmla="*/ 5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154">
                    <a:moveTo>
                      <a:pt x="19" y="0"/>
                    </a:moveTo>
                    <a:cubicBezTo>
                      <a:pt x="29" y="0"/>
                      <a:pt x="37" y="9"/>
                      <a:pt x="37" y="19"/>
                    </a:cubicBezTo>
                    <a:cubicBezTo>
                      <a:pt x="37" y="29"/>
                      <a:pt x="29" y="37"/>
                      <a:pt x="19" y="37"/>
                    </a:cubicBezTo>
                    <a:cubicBezTo>
                      <a:pt x="8" y="37"/>
                      <a:pt x="0" y="29"/>
                      <a:pt x="0" y="19"/>
                    </a:cubicBezTo>
                    <a:cubicBezTo>
                      <a:pt x="0" y="9"/>
                      <a:pt x="8" y="0"/>
                      <a:pt x="19" y="0"/>
                    </a:cubicBezTo>
                    <a:moveTo>
                      <a:pt x="3" y="51"/>
                    </a:moveTo>
                    <a:cubicBezTo>
                      <a:pt x="35" y="51"/>
                      <a:pt x="35" y="51"/>
                      <a:pt x="35" y="51"/>
                    </a:cubicBezTo>
                    <a:cubicBezTo>
                      <a:pt x="35" y="154"/>
                      <a:pt x="35" y="154"/>
                      <a:pt x="35" y="154"/>
                    </a:cubicBezTo>
                    <a:cubicBezTo>
                      <a:pt x="3" y="154"/>
                      <a:pt x="3" y="154"/>
                      <a:pt x="3" y="154"/>
                    </a:cubicBezTo>
                    <a:lnTo>
                      <a:pt x="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10291"/>
                <a:endParaRPr lang="en-CA" sz="1600" dirty="0">
                  <a:solidFill>
                    <a:srgbClr val="000000"/>
                  </a:solidFill>
                </a:endParaRPr>
              </a:p>
            </p:txBody>
          </p:sp>
          <p:sp>
            <p:nvSpPr>
              <p:cNvPr id="47" name="Freeform 10"/>
              <p:cNvSpPr>
                <a:spLocks/>
              </p:cNvSpPr>
              <p:nvPr/>
            </p:nvSpPr>
            <p:spPr bwMode="gray">
              <a:xfrm>
                <a:off x="4640263" y="3314701"/>
                <a:ext cx="371475" cy="400050"/>
              </a:xfrm>
              <a:custGeom>
                <a:avLst/>
                <a:gdLst>
                  <a:gd name="T0" fmla="*/ 0 w 99"/>
                  <a:gd name="T1" fmla="*/ 2 h 105"/>
                  <a:gd name="T2" fmla="*/ 30 w 99"/>
                  <a:gd name="T3" fmla="*/ 2 h 105"/>
                  <a:gd name="T4" fmla="*/ 30 w 99"/>
                  <a:gd name="T5" fmla="*/ 16 h 105"/>
                  <a:gd name="T6" fmla="*/ 30 w 99"/>
                  <a:gd name="T7" fmla="*/ 16 h 105"/>
                  <a:gd name="T8" fmla="*/ 61 w 99"/>
                  <a:gd name="T9" fmla="*/ 0 h 105"/>
                  <a:gd name="T10" fmla="*/ 99 w 99"/>
                  <a:gd name="T11" fmla="*/ 49 h 105"/>
                  <a:gd name="T12" fmla="*/ 99 w 99"/>
                  <a:gd name="T13" fmla="*/ 105 h 105"/>
                  <a:gd name="T14" fmla="*/ 67 w 99"/>
                  <a:gd name="T15" fmla="*/ 105 h 105"/>
                  <a:gd name="T16" fmla="*/ 67 w 99"/>
                  <a:gd name="T17" fmla="*/ 55 h 105"/>
                  <a:gd name="T18" fmla="*/ 50 w 99"/>
                  <a:gd name="T19" fmla="*/ 28 h 105"/>
                  <a:gd name="T20" fmla="*/ 31 w 99"/>
                  <a:gd name="T21" fmla="*/ 54 h 105"/>
                  <a:gd name="T22" fmla="*/ 31 w 99"/>
                  <a:gd name="T23" fmla="*/ 105 h 105"/>
                  <a:gd name="T24" fmla="*/ 0 w 99"/>
                  <a:gd name="T25" fmla="*/ 105 h 105"/>
                  <a:gd name="T26" fmla="*/ 0 w 99"/>
                  <a:gd name="T27" fmla="*/ 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05">
                    <a:moveTo>
                      <a:pt x="0" y="2"/>
                    </a:moveTo>
                    <a:cubicBezTo>
                      <a:pt x="30" y="2"/>
                      <a:pt x="30" y="2"/>
                      <a:pt x="30" y="2"/>
                    </a:cubicBezTo>
                    <a:cubicBezTo>
                      <a:pt x="30" y="16"/>
                      <a:pt x="30" y="16"/>
                      <a:pt x="30" y="16"/>
                    </a:cubicBezTo>
                    <a:cubicBezTo>
                      <a:pt x="30" y="16"/>
                      <a:pt x="30" y="16"/>
                      <a:pt x="30" y="16"/>
                    </a:cubicBezTo>
                    <a:cubicBezTo>
                      <a:pt x="35" y="8"/>
                      <a:pt x="45" y="0"/>
                      <a:pt x="61" y="0"/>
                    </a:cubicBezTo>
                    <a:cubicBezTo>
                      <a:pt x="93" y="0"/>
                      <a:pt x="99" y="21"/>
                      <a:pt x="99" y="49"/>
                    </a:cubicBezTo>
                    <a:cubicBezTo>
                      <a:pt x="99" y="105"/>
                      <a:pt x="99" y="105"/>
                      <a:pt x="99" y="105"/>
                    </a:cubicBezTo>
                    <a:cubicBezTo>
                      <a:pt x="67" y="105"/>
                      <a:pt x="67" y="105"/>
                      <a:pt x="67" y="105"/>
                    </a:cubicBezTo>
                    <a:cubicBezTo>
                      <a:pt x="67" y="55"/>
                      <a:pt x="67" y="55"/>
                      <a:pt x="67" y="55"/>
                    </a:cubicBezTo>
                    <a:cubicBezTo>
                      <a:pt x="67" y="43"/>
                      <a:pt x="67" y="28"/>
                      <a:pt x="50" y="28"/>
                    </a:cubicBezTo>
                    <a:cubicBezTo>
                      <a:pt x="34" y="28"/>
                      <a:pt x="31" y="41"/>
                      <a:pt x="31" y="54"/>
                    </a:cubicBezTo>
                    <a:cubicBezTo>
                      <a:pt x="31" y="105"/>
                      <a:pt x="31" y="105"/>
                      <a:pt x="31" y="105"/>
                    </a:cubicBezTo>
                    <a:cubicBezTo>
                      <a:pt x="0" y="105"/>
                      <a:pt x="0" y="105"/>
                      <a:pt x="0" y="105"/>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10291"/>
                <a:endParaRPr lang="en-CA" sz="1600" dirty="0">
                  <a:solidFill>
                    <a:srgbClr val="000000"/>
                  </a:solidFill>
                </a:endParaRPr>
              </a:p>
            </p:txBody>
          </p:sp>
        </p:grpSp>
        <p:grpSp>
          <p:nvGrpSpPr>
            <p:cNvPr id="35" name="Groupe 34"/>
            <p:cNvGrpSpPr/>
            <p:nvPr/>
          </p:nvGrpSpPr>
          <p:grpSpPr bwMode="gray">
            <a:xfrm>
              <a:off x="7054850" y="3017838"/>
              <a:ext cx="809625" cy="817563"/>
              <a:chOff x="7054850" y="3017838"/>
              <a:chExt cx="809625" cy="817563"/>
            </a:xfrm>
          </p:grpSpPr>
          <p:sp>
            <p:nvSpPr>
              <p:cNvPr id="42" name="Freeform 7"/>
              <p:cNvSpPr>
                <a:spLocks/>
              </p:cNvSpPr>
              <p:nvPr/>
            </p:nvSpPr>
            <p:spPr bwMode="gray">
              <a:xfrm>
                <a:off x="7054850" y="3017838"/>
                <a:ext cx="809625" cy="817563"/>
              </a:xfrm>
              <a:custGeom>
                <a:avLst/>
                <a:gdLst>
                  <a:gd name="T0" fmla="*/ 199 w 215"/>
                  <a:gd name="T1" fmla="*/ 0 h 215"/>
                  <a:gd name="T2" fmla="*/ 16 w 215"/>
                  <a:gd name="T3" fmla="*/ 0 h 215"/>
                  <a:gd name="T4" fmla="*/ 0 w 215"/>
                  <a:gd name="T5" fmla="*/ 15 h 215"/>
                  <a:gd name="T6" fmla="*/ 0 w 215"/>
                  <a:gd name="T7" fmla="*/ 199 h 215"/>
                  <a:gd name="T8" fmla="*/ 16 w 215"/>
                  <a:gd name="T9" fmla="*/ 215 h 215"/>
                  <a:gd name="T10" fmla="*/ 199 w 215"/>
                  <a:gd name="T11" fmla="*/ 215 h 215"/>
                  <a:gd name="T12" fmla="*/ 215 w 215"/>
                  <a:gd name="T13" fmla="*/ 199 h 215"/>
                  <a:gd name="T14" fmla="*/ 215 w 215"/>
                  <a:gd name="T15" fmla="*/ 15 h 215"/>
                  <a:gd name="T16" fmla="*/ 199 w 21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15">
                    <a:moveTo>
                      <a:pt x="199" y="0"/>
                    </a:moveTo>
                    <a:cubicBezTo>
                      <a:pt x="16" y="0"/>
                      <a:pt x="16" y="0"/>
                      <a:pt x="16" y="0"/>
                    </a:cubicBezTo>
                    <a:cubicBezTo>
                      <a:pt x="7" y="0"/>
                      <a:pt x="0" y="7"/>
                      <a:pt x="0" y="15"/>
                    </a:cubicBezTo>
                    <a:cubicBezTo>
                      <a:pt x="0" y="199"/>
                      <a:pt x="0" y="199"/>
                      <a:pt x="0" y="199"/>
                    </a:cubicBezTo>
                    <a:cubicBezTo>
                      <a:pt x="0" y="208"/>
                      <a:pt x="7" y="215"/>
                      <a:pt x="16" y="215"/>
                    </a:cubicBezTo>
                    <a:cubicBezTo>
                      <a:pt x="199" y="215"/>
                      <a:pt x="199" y="215"/>
                      <a:pt x="199" y="215"/>
                    </a:cubicBezTo>
                    <a:cubicBezTo>
                      <a:pt x="208" y="215"/>
                      <a:pt x="215" y="208"/>
                      <a:pt x="215" y="199"/>
                    </a:cubicBezTo>
                    <a:cubicBezTo>
                      <a:pt x="215" y="15"/>
                      <a:pt x="215" y="15"/>
                      <a:pt x="215" y="15"/>
                    </a:cubicBezTo>
                    <a:cubicBezTo>
                      <a:pt x="215" y="7"/>
                      <a:pt x="208" y="0"/>
                      <a:pt x="199" y="0"/>
                    </a:cubicBezTo>
                  </a:path>
                </a:pathLst>
              </a:custGeom>
              <a:solidFill>
                <a:srgbClr val="DC4A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10291"/>
                <a:endParaRPr lang="en-CA" sz="1600" dirty="0">
                  <a:solidFill>
                    <a:srgbClr val="000000"/>
                  </a:solidFill>
                </a:endParaRPr>
              </a:p>
            </p:txBody>
          </p:sp>
          <p:sp>
            <p:nvSpPr>
              <p:cNvPr id="43" name="Freeform 11"/>
              <p:cNvSpPr>
                <a:spLocks/>
              </p:cNvSpPr>
              <p:nvPr/>
            </p:nvSpPr>
            <p:spPr bwMode="gray">
              <a:xfrm>
                <a:off x="7551738" y="3170238"/>
                <a:ext cx="247650" cy="250825"/>
              </a:xfrm>
              <a:custGeom>
                <a:avLst/>
                <a:gdLst>
                  <a:gd name="T0" fmla="*/ 156 w 156"/>
                  <a:gd name="T1" fmla="*/ 65 h 158"/>
                  <a:gd name="T2" fmla="*/ 92 w 156"/>
                  <a:gd name="T3" fmla="*/ 65 h 158"/>
                  <a:gd name="T4" fmla="*/ 92 w 156"/>
                  <a:gd name="T5" fmla="*/ 0 h 158"/>
                  <a:gd name="T6" fmla="*/ 78 w 156"/>
                  <a:gd name="T7" fmla="*/ 0 h 158"/>
                  <a:gd name="T8" fmla="*/ 78 w 156"/>
                  <a:gd name="T9" fmla="*/ 65 h 158"/>
                  <a:gd name="T10" fmla="*/ 0 w 156"/>
                  <a:gd name="T11" fmla="*/ 65 h 158"/>
                  <a:gd name="T12" fmla="*/ 0 w 156"/>
                  <a:gd name="T13" fmla="*/ 91 h 158"/>
                  <a:gd name="T14" fmla="*/ 78 w 156"/>
                  <a:gd name="T15" fmla="*/ 91 h 158"/>
                  <a:gd name="T16" fmla="*/ 78 w 156"/>
                  <a:gd name="T17" fmla="*/ 158 h 158"/>
                  <a:gd name="T18" fmla="*/ 92 w 156"/>
                  <a:gd name="T19" fmla="*/ 158 h 158"/>
                  <a:gd name="T20" fmla="*/ 92 w 156"/>
                  <a:gd name="T21" fmla="*/ 91 h 158"/>
                  <a:gd name="T22" fmla="*/ 156 w 156"/>
                  <a:gd name="T23" fmla="*/ 91 h 158"/>
                  <a:gd name="T24" fmla="*/ 156 w 156"/>
                  <a:gd name="T25" fmla="*/ 6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8">
                    <a:moveTo>
                      <a:pt x="156" y="65"/>
                    </a:moveTo>
                    <a:lnTo>
                      <a:pt x="92" y="65"/>
                    </a:lnTo>
                    <a:lnTo>
                      <a:pt x="92" y="0"/>
                    </a:lnTo>
                    <a:lnTo>
                      <a:pt x="78" y="0"/>
                    </a:lnTo>
                    <a:lnTo>
                      <a:pt x="78" y="65"/>
                    </a:lnTo>
                    <a:lnTo>
                      <a:pt x="0" y="65"/>
                    </a:lnTo>
                    <a:lnTo>
                      <a:pt x="0" y="91"/>
                    </a:lnTo>
                    <a:lnTo>
                      <a:pt x="78" y="91"/>
                    </a:lnTo>
                    <a:lnTo>
                      <a:pt x="78" y="158"/>
                    </a:lnTo>
                    <a:lnTo>
                      <a:pt x="92" y="158"/>
                    </a:lnTo>
                    <a:lnTo>
                      <a:pt x="92" y="91"/>
                    </a:lnTo>
                    <a:lnTo>
                      <a:pt x="156" y="91"/>
                    </a:lnTo>
                    <a:lnTo>
                      <a:pt x="15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10291"/>
                <a:endParaRPr lang="en-CA" sz="1600" dirty="0">
                  <a:solidFill>
                    <a:srgbClr val="000000"/>
                  </a:solidFill>
                </a:endParaRPr>
              </a:p>
            </p:txBody>
          </p:sp>
          <p:sp>
            <p:nvSpPr>
              <p:cNvPr id="44" name="Freeform 12"/>
              <p:cNvSpPr>
                <a:spLocks noEditPoints="1"/>
              </p:cNvSpPr>
              <p:nvPr/>
            </p:nvSpPr>
            <p:spPr bwMode="gray">
              <a:xfrm>
                <a:off x="7148513" y="3170238"/>
                <a:ext cx="361950" cy="555625"/>
              </a:xfrm>
              <a:custGeom>
                <a:avLst/>
                <a:gdLst>
                  <a:gd name="T0" fmla="*/ 47 w 96"/>
                  <a:gd name="T1" fmla="*/ 139 h 146"/>
                  <a:gd name="T2" fmla="*/ 17 w 96"/>
                  <a:gd name="T3" fmla="*/ 114 h 146"/>
                  <a:gd name="T4" fmla="*/ 50 w 96"/>
                  <a:gd name="T5" fmla="*/ 91 h 146"/>
                  <a:gd name="T6" fmla="*/ 61 w 96"/>
                  <a:gd name="T7" fmla="*/ 92 h 146"/>
                  <a:gd name="T8" fmla="*/ 80 w 96"/>
                  <a:gd name="T9" fmla="*/ 110 h 146"/>
                  <a:gd name="T10" fmla="*/ 80 w 96"/>
                  <a:gd name="T11" fmla="*/ 115 h 146"/>
                  <a:gd name="T12" fmla="*/ 47 w 96"/>
                  <a:gd name="T13" fmla="*/ 139 h 146"/>
                  <a:gd name="T14" fmla="*/ 52 w 96"/>
                  <a:gd name="T15" fmla="*/ 61 h 146"/>
                  <a:gd name="T16" fmla="*/ 27 w 96"/>
                  <a:gd name="T17" fmla="*/ 32 h 146"/>
                  <a:gd name="T18" fmla="*/ 44 w 96"/>
                  <a:gd name="T19" fmla="*/ 5 h 146"/>
                  <a:gd name="T20" fmla="*/ 69 w 96"/>
                  <a:gd name="T21" fmla="*/ 33 h 146"/>
                  <a:gd name="T22" fmla="*/ 52 w 96"/>
                  <a:gd name="T23" fmla="*/ 61 h 146"/>
                  <a:gd name="T24" fmla="*/ 76 w 96"/>
                  <a:gd name="T25" fmla="*/ 83 h 146"/>
                  <a:gd name="T26" fmla="*/ 64 w 96"/>
                  <a:gd name="T27" fmla="*/ 69 h 146"/>
                  <a:gd name="T28" fmla="*/ 73 w 96"/>
                  <a:gd name="T29" fmla="*/ 56 h 146"/>
                  <a:gd name="T30" fmla="*/ 86 w 96"/>
                  <a:gd name="T31" fmla="*/ 32 h 146"/>
                  <a:gd name="T32" fmla="*/ 71 w 96"/>
                  <a:gd name="T33" fmla="*/ 5 h 146"/>
                  <a:gd name="T34" fmla="*/ 85 w 96"/>
                  <a:gd name="T35" fmla="*/ 5 h 146"/>
                  <a:gd name="T36" fmla="*/ 96 w 96"/>
                  <a:gd name="T37" fmla="*/ 0 h 146"/>
                  <a:gd name="T38" fmla="*/ 50 w 96"/>
                  <a:gd name="T39" fmla="*/ 0 h 146"/>
                  <a:gd name="T40" fmla="*/ 10 w 96"/>
                  <a:gd name="T41" fmla="*/ 33 h 146"/>
                  <a:gd name="T42" fmla="*/ 45 w 96"/>
                  <a:gd name="T43" fmla="*/ 66 h 146"/>
                  <a:gd name="T44" fmla="*/ 49 w 96"/>
                  <a:gd name="T45" fmla="*/ 65 h 146"/>
                  <a:gd name="T46" fmla="*/ 47 w 96"/>
                  <a:gd name="T47" fmla="*/ 74 h 146"/>
                  <a:gd name="T48" fmla="*/ 53 w 96"/>
                  <a:gd name="T49" fmla="*/ 86 h 146"/>
                  <a:gd name="T50" fmla="*/ 45 w 96"/>
                  <a:gd name="T51" fmla="*/ 86 h 146"/>
                  <a:gd name="T52" fmla="*/ 0 w 96"/>
                  <a:gd name="T53" fmla="*/ 119 h 146"/>
                  <a:gd name="T54" fmla="*/ 47 w 96"/>
                  <a:gd name="T55" fmla="*/ 146 h 146"/>
                  <a:gd name="T56" fmla="*/ 92 w 96"/>
                  <a:gd name="T57" fmla="*/ 113 h 146"/>
                  <a:gd name="T58" fmla="*/ 76 w 96"/>
                  <a:gd name="T59" fmla="*/ 8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146">
                    <a:moveTo>
                      <a:pt x="47" y="139"/>
                    </a:moveTo>
                    <a:cubicBezTo>
                      <a:pt x="29" y="139"/>
                      <a:pt x="17" y="128"/>
                      <a:pt x="17" y="114"/>
                    </a:cubicBezTo>
                    <a:cubicBezTo>
                      <a:pt x="17" y="101"/>
                      <a:pt x="32" y="90"/>
                      <a:pt x="50" y="91"/>
                    </a:cubicBezTo>
                    <a:cubicBezTo>
                      <a:pt x="54" y="91"/>
                      <a:pt x="58" y="91"/>
                      <a:pt x="61" y="92"/>
                    </a:cubicBezTo>
                    <a:cubicBezTo>
                      <a:pt x="71" y="99"/>
                      <a:pt x="78" y="103"/>
                      <a:pt x="80" y="110"/>
                    </a:cubicBezTo>
                    <a:cubicBezTo>
                      <a:pt x="80" y="112"/>
                      <a:pt x="80" y="113"/>
                      <a:pt x="80" y="115"/>
                    </a:cubicBezTo>
                    <a:cubicBezTo>
                      <a:pt x="80" y="128"/>
                      <a:pt x="72" y="139"/>
                      <a:pt x="47" y="139"/>
                    </a:cubicBezTo>
                    <a:moveTo>
                      <a:pt x="52" y="61"/>
                    </a:moveTo>
                    <a:cubicBezTo>
                      <a:pt x="40" y="60"/>
                      <a:pt x="29" y="47"/>
                      <a:pt x="27" y="32"/>
                    </a:cubicBezTo>
                    <a:cubicBezTo>
                      <a:pt x="25" y="16"/>
                      <a:pt x="32" y="5"/>
                      <a:pt x="44" y="5"/>
                    </a:cubicBezTo>
                    <a:cubicBezTo>
                      <a:pt x="56" y="5"/>
                      <a:pt x="67" y="18"/>
                      <a:pt x="69" y="33"/>
                    </a:cubicBezTo>
                    <a:cubicBezTo>
                      <a:pt x="71" y="49"/>
                      <a:pt x="63" y="61"/>
                      <a:pt x="52" y="61"/>
                    </a:cubicBezTo>
                    <a:moveTo>
                      <a:pt x="76" y="83"/>
                    </a:moveTo>
                    <a:cubicBezTo>
                      <a:pt x="72" y="81"/>
                      <a:pt x="64" y="73"/>
                      <a:pt x="64" y="69"/>
                    </a:cubicBezTo>
                    <a:cubicBezTo>
                      <a:pt x="64" y="64"/>
                      <a:pt x="65" y="62"/>
                      <a:pt x="73" y="56"/>
                    </a:cubicBezTo>
                    <a:cubicBezTo>
                      <a:pt x="80" y="50"/>
                      <a:pt x="86" y="42"/>
                      <a:pt x="86" y="32"/>
                    </a:cubicBezTo>
                    <a:cubicBezTo>
                      <a:pt x="86" y="21"/>
                      <a:pt x="81" y="11"/>
                      <a:pt x="71" y="5"/>
                    </a:cubicBezTo>
                    <a:cubicBezTo>
                      <a:pt x="85" y="5"/>
                      <a:pt x="85" y="5"/>
                      <a:pt x="85" y="5"/>
                    </a:cubicBezTo>
                    <a:cubicBezTo>
                      <a:pt x="96" y="0"/>
                      <a:pt x="96" y="0"/>
                      <a:pt x="96" y="0"/>
                    </a:cubicBezTo>
                    <a:cubicBezTo>
                      <a:pt x="50" y="0"/>
                      <a:pt x="50" y="0"/>
                      <a:pt x="50" y="0"/>
                    </a:cubicBezTo>
                    <a:cubicBezTo>
                      <a:pt x="29" y="0"/>
                      <a:pt x="10" y="15"/>
                      <a:pt x="10" y="33"/>
                    </a:cubicBezTo>
                    <a:cubicBezTo>
                      <a:pt x="10" y="51"/>
                      <a:pt x="24" y="66"/>
                      <a:pt x="45" y="66"/>
                    </a:cubicBezTo>
                    <a:cubicBezTo>
                      <a:pt x="46" y="66"/>
                      <a:pt x="48" y="65"/>
                      <a:pt x="49" y="65"/>
                    </a:cubicBezTo>
                    <a:cubicBezTo>
                      <a:pt x="48" y="68"/>
                      <a:pt x="47" y="71"/>
                      <a:pt x="47" y="74"/>
                    </a:cubicBezTo>
                    <a:cubicBezTo>
                      <a:pt x="47" y="79"/>
                      <a:pt x="50" y="83"/>
                      <a:pt x="53" y="86"/>
                    </a:cubicBezTo>
                    <a:cubicBezTo>
                      <a:pt x="50" y="86"/>
                      <a:pt x="48" y="86"/>
                      <a:pt x="45" y="86"/>
                    </a:cubicBezTo>
                    <a:cubicBezTo>
                      <a:pt x="20" y="86"/>
                      <a:pt x="0" y="103"/>
                      <a:pt x="0" y="119"/>
                    </a:cubicBezTo>
                    <a:cubicBezTo>
                      <a:pt x="0" y="136"/>
                      <a:pt x="22" y="146"/>
                      <a:pt x="47" y="146"/>
                    </a:cubicBezTo>
                    <a:cubicBezTo>
                      <a:pt x="76" y="146"/>
                      <a:pt x="92" y="130"/>
                      <a:pt x="92" y="113"/>
                    </a:cubicBezTo>
                    <a:cubicBezTo>
                      <a:pt x="92" y="100"/>
                      <a:pt x="88" y="92"/>
                      <a:pt x="76" y="8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10291"/>
                <a:endParaRPr lang="en-CA" sz="1600" dirty="0">
                  <a:solidFill>
                    <a:srgbClr val="000000"/>
                  </a:solidFill>
                </a:endParaRPr>
              </a:p>
            </p:txBody>
          </p:sp>
        </p:grpSp>
        <p:grpSp>
          <p:nvGrpSpPr>
            <p:cNvPr id="36" name="Groupe 35"/>
            <p:cNvGrpSpPr/>
            <p:nvPr/>
          </p:nvGrpSpPr>
          <p:grpSpPr bwMode="gray">
            <a:xfrm>
              <a:off x="6137275" y="3017838"/>
              <a:ext cx="808038" cy="817563"/>
              <a:chOff x="6137275" y="3017838"/>
              <a:chExt cx="808038" cy="817563"/>
            </a:xfrm>
          </p:grpSpPr>
          <p:sp>
            <p:nvSpPr>
              <p:cNvPr id="40" name="Freeform 6"/>
              <p:cNvSpPr>
                <a:spLocks/>
              </p:cNvSpPr>
              <p:nvPr/>
            </p:nvSpPr>
            <p:spPr bwMode="gray">
              <a:xfrm>
                <a:off x="6137275" y="3017838"/>
                <a:ext cx="808038" cy="817563"/>
              </a:xfrm>
              <a:custGeom>
                <a:avLst/>
                <a:gdLst>
                  <a:gd name="T0" fmla="*/ 199 w 215"/>
                  <a:gd name="T1" fmla="*/ 0 h 215"/>
                  <a:gd name="T2" fmla="*/ 16 w 215"/>
                  <a:gd name="T3" fmla="*/ 0 h 215"/>
                  <a:gd name="T4" fmla="*/ 0 w 215"/>
                  <a:gd name="T5" fmla="*/ 15 h 215"/>
                  <a:gd name="T6" fmla="*/ 0 w 215"/>
                  <a:gd name="T7" fmla="*/ 199 h 215"/>
                  <a:gd name="T8" fmla="*/ 16 w 215"/>
                  <a:gd name="T9" fmla="*/ 215 h 215"/>
                  <a:gd name="T10" fmla="*/ 199 w 215"/>
                  <a:gd name="T11" fmla="*/ 215 h 215"/>
                  <a:gd name="T12" fmla="*/ 215 w 215"/>
                  <a:gd name="T13" fmla="*/ 199 h 215"/>
                  <a:gd name="T14" fmla="*/ 215 w 215"/>
                  <a:gd name="T15" fmla="*/ 15 h 215"/>
                  <a:gd name="T16" fmla="*/ 199 w 21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15">
                    <a:moveTo>
                      <a:pt x="199" y="0"/>
                    </a:moveTo>
                    <a:cubicBezTo>
                      <a:pt x="16" y="0"/>
                      <a:pt x="16" y="0"/>
                      <a:pt x="16" y="0"/>
                    </a:cubicBezTo>
                    <a:cubicBezTo>
                      <a:pt x="7" y="0"/>
                      <a:pt x="0" y="7"/>
                      <a:pt x="0" y="15"/>
                    </a:cubicBezTo>
                    <a:cubicBezTo>
                      <a:pt x="0" y="199"/>
                      <a:pt x="0" y="199"/>
                      <a:pt x="0" y="199"/>
                    </a:cubicBezTo>
                    <a:cubicBezTo>
                      <a:pt x="0" y="208"/>
                      <a:pt x="7" y="215"/>
                      <a:pt x="16" y="215"/>
                    </a:cubicBezTo>
                    <a:cubicBezTo>
                      <a:pt x="199" y="215"/>
                      <a:pt x="199" y="215"/>
                      <a:pt x="199" y="215"/>
                    </a:cubicBezTo>
                    <a:cubicBezTo>
                      <a:pt x="207" y="215"/>
                      <a:pt x="215" y="208"/>
                      <a:pt x="215" y="199"/>
                    </a:cubicBezTo>
                    <a:cubicBezTo>
                      <a:pt x="215" y="15"/>
                      <a:pt x="215" y="15"/>
                      <a:pt x="215" y="15"/>
                    </a:cubicBezTo>
                    <a:cubicBezTo>
                      <a:pt x="215" y="7"/>
                      <a:pt x="207" y="0"/>
                      <a:pt x="199" y="0"/>
                    </a:cubicBezTo>
                  </a:path>
                </a:pathLst>
              </a:custGeom>
              <a:gradFill flip="none" rotWithShape="1">
                <a:gsLst>
                  <a:gs pos="0">
                    <a:srgbClr val="B62026"/>
                  </a:gs>
                  <a:gs pos="100000">
                    <a:srgbClr val="E32E27"/>
                  </a:gs>
                </a:gsLst>
                <a:lin ang="16200000" scaled="1"/>
                <a:tileRect/>
              </a:gradFill>
              <a:ln>
                <a:noFill/>
              </a:ln>
            </p:spPr>
            <p:txBody>
              <a:bodyPr vert="horz" wrap="square" lIns="91440" tIns="45720" rIns="91440" bIns="45720" numCol="1" anchor="t" anchorCtr="0" compatLnSpc="1">
                <a:prstTxWarp prst="textNoShape">
                  <a:avLst/>
                </a:prstTxWarp>
              </a:bodyPr>
              <a:lstStyle/>
              <a:p>
                <a:pPr defTabSz="410291"/>
                <a:endParaRPr lang="en-CA" sz="1600" dirty="0">
                  <a:solidFill>
                    <a:srgbClr val="000000"/>
                  </a:solidFill>
                </a:endParaRPr>
              </a:p>
            </p:txBody>
          </p:sp>
          <p:sp>
            <p:nvSpPr>
              <p:cNvPr id="41" name="Freeform 13"/>
              <p:cNvSpPr>
                <a:spLocks noEditPoints="1"/>
              </p:cNvSpPr>
              <p:nvPr/>
            </p:nvSpPr>
            <p:spPr bwMode="gray">
              <a:xfrm>
                <a:off x="6280150" y="3222626"/>
                <a:ext cx="530225" cy="404813"/>
              </a:xfrm>
              <a:custGeom>
                <a:avLst/>
                <a:gdLst>
                  <a:gd name="T0" fmla="*/ 50 w 141"/>
                  <a:gd name="T1" fmla="*/ 76 h 106"/>
                  <a:gd name="T2" fmla="*/ 50 w 141"/>
                  <a:gd name="T3" fmla="*/ 29 h 106"/>
                  <a:gd name="T4" fmla="*/ 91 w 141"/>
                  <a:gd name="T5" fmla="*/ 53 h 106"/>
                  <a:gd name="T6" fmla="*/ 50 w 141"/>
                  <a:gd name="T7" fmla="*/ 76 h 106"/>
                  <a:gd name="T8" fmla="*/ 120 w 141"/>
                  <a:gd name="T9" fmla="*/ 0 h 106"/>
                  <a:gd name="T10" fmla="*/ 21 w 141"/>
                  <a:gd name="T11" fmla="*/ 0 h 106"/>
                  <a:gd name="T12" fmla="*/ 0 w 141"/>
                  <a:gd name="T13" fmla="*/ 21 h 106"/>
                  <a:gd name="T14" fmla="*/ 0 w 141"/>
                  <a:gd name="T15" fmla="*/ 85 h 106"/>
                  <a:gd name="T16" fmla="*/ 21 w 141"/>
                  <a:gd name="T17" fmla="*/ 106 h 106"/>
                  <a:gd name="T18" fmla="*/ 120 w 141"/>
                  <a:gd name="T19" fmla="*/ 106 h 106"/>
                  <a:gd name="T20" fmla="*/ 141 w 141"/>
                  <a:gd name="T21" fmla="*/ 85 h 106"/>
                  <a:gd name="T22" fmla="*/ 141 w 141"/>
                  <a:gd name="T23" fmla="*/ 21 h 106"/>
                  <a:gd name="T24" fmla="*/ 120 w 141"/>
                  <a:gd name="T2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06">
                    <a:moveTo>
                      <a:pt x="50" y="76"/>
                    </a:moveTo>
                    <a:cubicBezTo>
                      <a:pt x="50" y="29"/>
                      <a:pt x="50" y="29"/>
                      <a:pt x="50" y="29"/>
                    </a:cubicBezTo>
                    <a:cubicBezTo>
                      <a:pt x="91" y="53"/>
                      <a:pt x="91" y="53"/>
                      <a:pt x="91" y="53"/>
                    </a:cubicBezTo>
                    <a:lnTo>
                      <a:pt x="50" y="76"/>
                    </a:lnTo>
                    <a:close/>
                    <a:moveTo>
                      <a:pt x="120" y="0"/>
                    </a:moveTo>
                    <a:cubicBezTo>
                      <a:pt x="21" y="0"/>
                      <a:pt x="21" y="0"/>
                      <a:pt x="21" y="0"/>
                    </a:cubicBezTo>
                    <a:cubicBezTo>
                      <a:pt x="9" y="0"/>
                      <a:pt x="0" y="9"/>
                      <a:pt x="0" y="21"/>
                    </a:cubicBezTo>
                    <a:cubicBezTo>
                      <a:pt x="0" y="85"/>
                      <a:pt x="0" y="85"/>
                      <a:pt x="0" y="85"/>
                    </a:cubicBezTo>
                    <a:cubicBezTo>
                      <a:pt x="0" y="97"/>
                      <a:pt x="9" y="106"/>
                      <a:pt x="21" y="106"/>
                    </a:cubicBezTo>
                    <a:cubicBezTo>
                      <a:pt x="120" y="106"/>
                      <a:pt x="120" y="106"/>
                      <a:pt x="120" y="106"/>
                    </a:cubicBezTo>
                    <a:cubicBezTo>
                      <a:pt x="131" y="106"/>
                      <a:pt x="141" y="97"/>
                      <a:pt x="141" y="85"/>
                    </a:cubicBezTo>
                    <a:cubicBezTo>
                      <a:pt x="141" y="21"/>
                      <a:pt x="141" y="21"/>
                      <a:pt x="141" y="21"/>
                    </a:cubicBezTo>
                    <a:cubicBezTo>
                      <a:pt x="141" y="9"/>
                      <a:pt x="131" y="0"/>
                      <a:pt x="12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10291"/>
                <a:endParaRPr lang="en-CA" sz="1600" dirty="0">
                  <a:solidFill>
                    <a:srgbClr val="000000"/>
                  </a:solidFill>
                </a:endParaRPr>
              </a:p>
            </p:txBody>
          </p:sp>
        </p:grpSp>
        <p:grpSp>
          <p:nvGrpSpPr>
            <p:cNvPr id="37" name="Groupe 36"/>
            <p:cNvGrpSpPr/>
            <p:nvPr/>
          </p:nvGrpSpPr>
          <p:grpSpPr bwMode="gray">
            <a:xfrm>
              <a:off x="5222875" y="3017838"/>
              <a:ext cx="809625" cy="817563"/>
              <a:chOff x="5222875" y="3017838"/>
              <a:chExt cx="809625" cy="817563"/>
            </a:xfrm>
          </p:grpSpPr>
          <p:sp>
            <p:nvSpPr>
              <p:cNvPr id="38" name="Freeform 5"/>
              <p:cNvSpPr>
                <a:spLocks/>
              </p:cNvSpPr>
              <p:nvPr/>
            </p:nvSpPr>
            <p:spPr bwMode="gray">
              <a:xfrm>
                <a:off x="5222875" y="3017838"/>
                <a:ext cx="809625" cy="817563"/>
              </a:xfrm>
              <a:custGeom>
                <a:avLst/>
                <a:gdLst>
                  <a:gd name="T0" fmla="*/ 199 w 215"/>
                  <a:gd name="T1" fmla="*/ 0 h 215"/>
                  <a:gd name="T2" fmla="*/ 16 w 215"/>
                  <a:gd name="T3" fmla="*/ 0 h 215"/>
                  <a:gd name="T4" fmla="*/ 0 w 215"/>
                  <a:gd name="T5" fmla="*/ 15 h 215"/>
                  <a:gd name="T6" fmla="*/ 0 w 215"/>
                  <a:gd name="T7" fmla="*/ 199 h 215"/>
                  <a:gd name="T8" fmla="*/ 16 w 215"/>
                  <a:gd name="T9" fmla="*/ 215 h 215"/>
                  <a:gd name="T10" fmla="*/ 199 w 215"/>
                  <a:gd name="T11" fmla="*/ 215 h 215"/>
                  <a:gd name="T12" fmla="*/ 215 w 215"/>
                  <a:gd name="T13" fmla="*/ 199 h 215"/>
                  <a:gd name="T14" fmla="*/ 215 w 215"/>
                  <a:gd name="T15" fmla="*/ 15 h 215"/>
                  <a:gd name="T16" fmla="*/ 199 w 21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15">
                    <a:moveTo>
                      <a:pt x="199" y="0"/>
                    </a:moveTo>
                    <a:cubicBezTo>
                      <a:pt x="16" y="0"/>
                      <a:pt x="16" y="0"/>
                      <a:pt x="16" y="0"/>
                    </a:cubicBezTo>
                    <a:cubicBezTo>
                      <a:pt x="7" y="0"/>
                      <a:pt x="0" y="7"/>
                      <a:pt x="0" y="15"/>
                    </a:cubicBezTo>
                    <a:cubicBezTo>
                      <a:pt x="0" y="199"/>
                      <a:pt x="0" y="199"/>
                      <a:pt x="0" y="199"/>
                    </a:cubicBezTo>
                    <a:cubicBezTo>
                      <a:pt x="0" y="208"/>
                      <a:pt x="7" y="215"/>
                      <a:pt x="16" y="215"/>
                    </a:cubicBezTo>
                    <a:cubicBezTo>
                      <a:pt x="199" y="215"/>
                      <a:pt x="199" y="215"/>
                      <a:pt x="199" y="215"/>
                    </a:cubicBezTo>
                    <a:cubicBezTo>
                      <a:pt x="208" y="215"/>
                      <a:pt x="215" y="208"/>
                      <a:pt x="215" y="199"/>
                    </a:cubicBezTo>
                    <a:cubicBezTo>
                      <a:pt x="215" y="15"/>
                      <a:pt x="215" y="15"/>
                      <a:pt x="215" y="15"/>
                    </a:cubicBezTo>
                    <a:cubicBezTo>
                      <a:pt x="215" y="7"/>
                      <a:pt x="208" y="0"/>
                      <a:pt x="199" y="0"/>
                    </a:cubicBezTo>
                  </a:path>
                </a:pathLst>
              </a:custGeom>
              <a:solidFill>
                <a:srgbClr val="60A9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10291"/>
                <a:endParaRPr lang="en-CA" sz="1600" dirty="0">
                  <a:solidFill>
                    <a:srgbClr val="000000"/>
                  </a:solidFill>
                </a:endParaRPr>
              </a:p>
            </p:txBody>
          </p:sp>
          <p:sp>
            <p:nvSpPr>
              <p:cNvPr id="39" name="Freeform 14"/>
              <p:cNvSpPr>
                <a:spLocks/>
              </p:cNvSpPr>
              <p:nvPr/>
            </p:nvSpPr>
            <p:spPr bwMode="gray">
              <a:xfrm>
                <a:off x="5346700" y="3192463"/>
                <a:ext cx="573088" cy="473075"/>
              </a:xfrm>
              <a:custGeom>
                <a:avLst/>
                <a:gdLst>
                  <a:gd name="T0" fmla="*/ 152 w 152"/>
                  <a:gd name="T1" fmla="*/ 15 h 124"/>
                  <a:gd name="T2" fmla="*/ 134 w 152"/>
                  <a:gd name="T3" fmla="*/ 20 h 124"/>
                  <a:gd name="T4" fmla="*/ 148 w 152"/>
                  <a:gd name="T5" fmla="*/ 3 h 124"/>
                  <a:gd name="T6" fmla="*/ 128 w 152"/>
                  <a:gd name="T7" fmla="*/ 10 h 124"/>
                  <a:gd name="T8" fmla="*/ 105 w 152"/>
                  <a:gd name="T9" fmla="*/ 0 h 124"/>
                  <a:gd name="T10" fmla="*/ 74 w 152"/>
                  <a:gd name="T11" fmla="*/ 32 h 124"/>
                  <a:gd name="T12" fmla="*/ 75 w 152"/>
                  <a:gd name="T13" fmla="*/ 39 h 124"/>
                  <a:gd name="T14" fmla="*/ 10 w 152"/>
                  <a:gd name="T15" fmla="*/ 6 h 124"/>
                  <a:gd name="T16" fmla="*/ 6 w 152"/>
                  <a:gd name="T17" fmla="*/ 22 h 124"/>
                  <a:gd name="T18" fmla="*/ 20 w 152"/>
                  <a:gd name="T19" fmla="*/ 48 h 124"/>
                  <a:gd name="T20" fmla="*/ 6 w 152"/>
                  <a:gd name="T21" fmla="*/ 44 h 124"/>
                  <a:gd name="T22" fmla="*/ 6 w 152"/>
                  <a:gd name="T23" fmla="*/ 44 h 124"/>
                  <a:gd name="T24" fmla="*/ 31 w 152"/>
                  <a:gd name="T25" fmla="*/ 75 h 124"/>
                  <a:gd name="T26" fmla="*/ 23 w 152"/>
                  <a:gd name="T27" fmla="*/ 76 h 124"/>
                  <a:gd name="T28" fmla="*/ 17 w 152"/>
                  <a:gd name="T29" fmla="*/ 75 h 124"/>
                  <a:gd name="T30" fmla="*/ 46 w 152"/>
                  <a:gd name="T31" fmla="*/ 97 h 124"/>
                  <a:gd name="T32" fmla="*/ 7 w 152"/>
                  <a:gd name="T33" fmla="*/ 111 h 124"/>
                  <a:gd name="T34" fmla="*/ 0 w 152"/>
                  <a:gd name="T35" fmla="*/ 110 h 124"/>
                  <a:gd name="T36" fmla="*/ 48 w 152"/>
                  <a:gd name="T37" fmla="*/ 124 h 124"/>
                  <a:gd name="T38" fmla="*/ 137 w 152"/>
                  <a:gd name="T39" fmla="*/ 35 h 124"/>
                  <a:gd name="T40" fmla="*/ 137 w 152"/>
                  <a:gd name="T41" fmla="*/ 31 h 124"/>
                  <a:gd name="T42" fmla="*/ 152 w 152"/>
                  <a:gd name="T43" fmla="*/ 1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124">
                    <a:moveTo>
                      <a:pt x="152" y="15"/>
                    </a:moveTo>
                    <a:cubicBezTo>
                      <a:pt x="147" y="17"/>
                      <a:pt x="141" y="19"/>
                      <a:pt x="134" y="20"/>
                    </a:cubicBezTo>
                    <a:cubicBezTo>
                      <a:pt x="141" y="16"/>
                      <a:pt x="146" y="10"/>
                      <a:pt x="148" y="3"/>
                    </a:cubicBezTo>
                    <a:cubicBezTo>
                      <a:pt x="142" y="6"/>
                      <a:pt x="135" y="9"/>
                      <a:pt x="128" y="10"/>
                    </a:cubicBezTo>
                    <a:cubicBezTo>
                      <a:pt x="122" y="4"/>
                      <a:pt x="114" y="0"/>
                      <a:pt x="105" y="0"/>
                    </a:cubicBezTo>
                    <a:cubicBezTo>
                      <a:pt x="88" y="0"/>
                      <a:pt x="74" y="14"/>
                      <a:pt x="74" y="32"/>
                    </a:cubicBezTo>
                    <a:cubicBezTo>
                      <a:pt x="74" y="34"/>
                      <a:pt x="74" y="36"/>
                      <a:pt x="75" y="39"/>
                    </a:cubicBezTo>
                    <a:cubicBezTo>
                      <a:pt x="49" y="37"/>
                      <a:pt x="26" y="25"/>
                      <a:pt x="10" y="6"/>
                    </a:cubicBezTo>
                    <a:cubicBezTo>
                      <a:pt x="8" y="11"/>
                      <a:pt x="6" y="16"/>
                      <a:pt x="6" y="22"/>
                    </a:cubicBezTo>
                    <a:cubicBezTo>
                      <a:pt x="6" y="33"/>
                      <a:pt x="12" y="42"/>
                      <a:pt x="20" y="48"/>
                    </a:cubicBezTo>
                    <a:cubicBezTo>
                      <a:pt x="15" y="48"/>
                      <a:pt x="10" y="46"/>
                      <a:pt x="6" y="44"/>
                    </a:cubicBezTo>
                    <a:cubicBezTo>
                      <a:pt x="6" y="44"/>
                      <a:pt x="6" y="44"/>
                      <a:pt x="6" y="44"/>
                    </a:cubicBezTo>
                    <a:cubicBezTo>
                      <a:pt x="6" y="59"/>
                      <a:pt x="17" y="72"/>
                      <a:pt x="31" y="75"/>
                    </a:cubicBezTo>
                    <a:cubicBezTo>
                      <a:pt x="28" y="76"/>
                      <a:pt x="26" y="76"/>
                      <a:pt x="23" y="76"/>
                    </a:cubicBezTo>
                    <a:cubicBezTo>
                      <a:pt x="21" y="76"/>
                      <a:pt x="19" y="76"/>
                      <a:pt x="17" y="75"/>
                    </a:cubicBezTo>
                    <a:cubicBezTo>
                      <a:pt x="21" y="88"/>
                      <a:pt x="32" y="97"/>
                      <a:pt x="46" y="97"/>
                    </a:cubicBezTo>
                    <a:cubicBezTo>
                      <a:pt x="35" y="106"/>
                      <a:pt x="22" y="111"/>
                      <a:pt x="7" y="111"/>
                    </a:cubicBezTo>
                    <a:cubicBezTo>
                      <a:pt x="5" y="111"/>
                      <a:pt x="2" y="110"/>
                      <a:pt x="0" y="110"/>
                    </a:cubicBezTo>
                    <a:cubicBezTo>
                      <a:pt x="14" y="119"/>
                      <a:pt x="30" y="124"/>
                      <a:pt x="48" y="124"/>
                    </a:cubicBezTo>
                    <a:cubicBezTo>
                      <a:pt x="105" y="124"/>
                      <a:pt x="137" y="77"/>
                      <a:pt x="137" y="35"/>
                    </a:cubicBezTo>
                    <a:cubicBezTo>
                      <a:pt x="137" y="34"/>
                      <a:pt x="137" y="33"/>
                      <a:pt x="137" y="31"/>
                    </a:cubicBezTo>
                    <a:cubicBezTo>
                      <a:pt x="143" y="27"/>
                      <a:pt x="148" y="21"/>
                      <a:pt x="152"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10291"/>
                <a:endParaRPr lang="en-CA" sz="1600" dirty="0">
                  <a:solidFill>
                    <a:srgbClr val="000000"/>
                  </a:solidFill>
                </a:endParaRPr>
              </a:p>
            </p:txBody>
          </p:sp>
        </p:grpSp>
      </p:grpSp>
    </p:spTree>
    <p:extLst>
      <p:ext uri="{BB962C8B-B14F-4D97-AF65-F5344CB8AC3E}">
        <p14:creationId xmlns:p14="http://schemas.microsoft.com/office/powerpoint/2010/main" val="242437349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124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Two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5" name="Text Placeholder 6"/>
          <p:cNvSpPr>
            <a:spLocks noGrp="1"/>
          </p:cNvSpPr>
          <p:nvPr>
            <p:ph type="body" sz="quarter" idx="10"/>
          </p:nvPr>
        </p:nvSpPr>
        <p:spPr bwMode="gray">
          <a:xfrm>
            <a:off x="431370" y="1268760"/>
            <a:ext cx="5568620" cy="4896544"/>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6"/>
          <p:cNvSpPr>
            <a:spLocks noGrp="1"/>
          </p:cNvSpPr>
          <p:nvPr>
            <p:ph type="body" sz="quarter" idx="11"/>
          </p:nvPr>
        </p:nvSpPr>
        <p:spPr bwMode="gray">
          <a:xfrm>
            <a:off x="6192011" y="1268760"/>
            <a:ext cx="5568619" cy="4896544"/>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40328391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8165584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Two Rows Text">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lstStyle/>
          <a:p>
            <a:r>
              <a:rPr lang="en-US" smtClean="0"/>
              <a:t>Click to edit Master title style</a:t>
            </a:r>
            <a:endParaRPr lang="en-GB"/>
          </a:p>
        </p:txBody>
      </p:sp>
      <p:sp>
        <p:nvSpPr>
          <p:cNvPr id="5" name="Text Placeholder 6"/>
          <p:cNvSpPr>
            <a:spLocks noGrp="1"/>
          </p:cNvSpPr>
          <p:nvPr>
            <p:ph type="body" sz="quarter" idx="10"/>
          </p:nvPr>
        </p:nvSpPr>
        <p:spPr bwMode="gray">
          <a:xfrm>
            <a:off x="431371" y="1268760"/>
            <a:ext cx="11329259"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Text Placeholder 6"/>
          <p:cNvSpPr>
            <a:spLocks noGrp="1"/>
          </p:cNvSpPr>
          <p:nvPr>
            <p:ph type="body" sz="quarter" idx="11"/>
          </p:nvPr>
        </p:nvSpPr>
        <p:spPr bwMode="gray">
          <a:xfrm>
            <a:off x="431371" y="3789710"/>
            <a:ext cx="11329259" cy="2376140"/>
          </a:xfrm>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4293970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8322157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1"/>
        </a:solidFill>
        <a:effectLst/>
      </p:bgPr>
    </p:bg>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object 3"/>
          <p:cNvSpPr/>
          <p:nvPr userDrawn="1"/>
        </p:nvSpPr>
        <p:spPr bwMode="gray">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8582"/>
            <a:endParaRPr lang="en-CA" sz="1867" dirty="0">
              <a:solidFill>
                <a:srgbClr val="000000"/>
              </a:solidFill>
              <a:latin typeface="Arial" panose="020B0604020202020204" pitchFamily="34" charset="0"/>
            </a:endParaRPr>
          </a:p>
        </p:txBody>
      </p:sp>
      <p:sp>
        <p:nvSpPr>
          <p:cNvPr id="7" name="Text Placeholder 6"/>
          <p:cNvSpPr>
            <a:spLocks noGrp="1"/>
          </p:cNvSpPr>
          <p:nvPr>
            <p:ph type="body" sz="quarter" idx="11"/>
          </p:nvPr>
        </p:nvSpPr>
        <p:spPr bwMode="gray">
          <a:xfrm>
            <a:off x="2005174" y="4758219"/>
            <a:ext cx="8222563" cy="676656"/>
          </a:xfrm>
          <a:prstGeom prst="rect">
            <a:avLst/>
          </a:prstGeom>
        </p:spPr>
        <p:txBody>
          <a:bodyPr vert="horz" wrap="square" lIns="0" tIns="0" rIns="0" bIns="0">
            <a:noAutofit/>
          </a:bodyPr>
          <a:lstStyle>
            <a:lvl1pPr>
              <a:spcBef>
                <a:spcPts val="299"/>
              </a:spcBef>
              <a:spcAft>
                <a:spcPts val="0"/>
              </a:spcAft>
              <a:defRPr sz="1400" b="1" i="0">
                <a:solidFill>
                  <a:srgbClr val="FFFFFF"/>
                </a:solidFill>
                <a:latin typeface="Univers for KPMG"/>
                <a:cs typeface="Univers for KPMG"/>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noProof="0" smtClean="0"/>
              <a:t>Click to edit Master text styles</a:t>
            </a:r>
          </a:p>
        </p:txBody>
      </p:sp>
      <p:sp>
        <p:nvSpPr>
          <p:cNvPr id="8" name="object 3"/>
          <p:cNvSpPr/>
          <p:nvPr userDrawn="1"/>
        </p:nvSpPr>
        <p:spPr bwMode="gray">
          <a:xfrm>
            <a:off x="2"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8582"/>
            <a:endParaRPr lang="en-CA" sz="1867" dirty="0">
              <a:solidFill>
                <a:srgbClr val="000000"/>
              </a:solidFill>
            </a:endParaRPr>
          </a:p>
        </p:txBody>
      </p:sp>
      <p:sp>
        <p:nvSpPr>
          <p:cNvPr id="10" name="Title 2"/>
          <p:cNvSpPr>
            <a:spLocks noGrp="1"/>
          </p:cNvSpPr>
          <p:nvPr>
            <p:ph type="title"/>
          </p:nvPr>
        </p:nvSpPr>
        <p:spPr bwMode="gray">
          <a:xfrm>
            <a:off x="2005174" y="1400174"/>
            <a:ext cx="8247961" cy="2562767"/>
          </a:xfrm>
          <a:prstGeom prst="rect">
            <a:avLst/>
          </a:prstGeom>
        </p:spPr>
        <p:txBody>
          <a:bodyPr lIns="0" tIns="0" rIns="0" bIns="0" anchor="t" anchorCtr="0">
            <a:noAutofit/>
          </a:bodyPr>
          <a:lstStyle>
            <a:lvl1pPr>
              <a:lnSpc>
                <a:spcPts val="9866"/>
              </a:lnSpc>
              <a:defRPr sz="11000">
                <a:solidFill>
                  <a:schemeClr val="bg1"/>
                </a:solidFill>
                <a:latin typeface="KPMG Extralight"/>
                <a:cs typeface="KPMG Extralight"/>
              </a:defRPr>
            </a:lvl1pPr>
          </a:lstStyle>
          <a:p>
            <a:r>
              <a:rPr lang="en-US" noProof="0" smtClean="0"/>
              <a:t>Click to edit Master title style</a:t>
            </a:r>
            <a:endParaRPr lang="en-CA" noProof="0" dirty="0"/>
          </a:p>
        </p:txBody>
      </p:sp>
      <p:sp>
        <p:nvSpPr>
          <p:cNvPr id="13" name="Rectangle 12">
            <a:hlinkClick r:id="rId6"/>
          </p:cNvPr>
          <p:cNvSpPr/>
          <p:nvPr userDrawn="1"/>
        </p:nvSpPr>
        <p:spPr bwMode="gray">
          <a:xfrm>
            <a:off x="5999750" y="5914061"/>
            <a:ext cx="6192252" cy="307411"/>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88582"/>
            <a:endParaRPr lang="en-CA" sz="1867" dirty="0">
              <a:solidFill>
                <a:prstClr val="white"/>
              </a:solidFill>
            </a:endParaRPr>
          </a:p>
        </p:txBody>
      </p:sp>
      <p:pic>
        <p:nvPicPr>
          <p:cNvPr id="11" name="Picture 4" descr="KPMG_NoCP_white_US_283_6780.eps"/>
          <p:cNvPicPr>
            <a:picLocks noChangeAspect="1"/>
          </p:cNvPicPr>
          <p:nvPr userDrawn="1"/>
        </p:nvPicPr>
        <p:blipFill rotWithShape="1">
          <a:blip r:embed="rId7" cstate="email">
            <a:extLst>
              <a:ext uri="{28A0092B-C50C-407E-A947-70E740481C1C}">
                <a14:useLocalDpi xmlns:a14="http://schemas.microsoft.com/office/drawing/2010/main"/>
              </a:ext>
            </a:extLst>
          </a:blip>
          <a:srcRect l="7816" t="22176" r="7816" b="22176"/>
          <a:stretch/>
        </p:blipFill>
        <p:spPr bwMode="gray">
          <a:xfrm>
            <a:off x="2005174" y="616555"/>
            <a:ext cx="1255552" cy="593672"/>
          </a:xfrm>
          <a:prstGeom prst="rect">
            <a:avLst/>
          </a:prstGeom>
        </p:spPr>
      </p:pic>
    </p:spTree>
    <p:extLst>
      <p:ext uri="{BB962C8B-B14F-4D97-AF65-F5344CB8AC3E}">
        <p14:creationId xmlns:p14="http://schemas.microsoft.com/office/powerpoint/2010/main" val="703423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13" name="Imag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2" name="Obje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ext Placeholder 6"/>
          <p:cNvSpPr>
            <a:spLocks noGrp="1"/>
          </p:cNvSpPr>
          <p:nvPr>
            <p:ph type="body" sz="quarter" idx="11"/>
          </p:nvPr>
        </p:nvSpPr>
        <p:spPr>
          <a:xfrm>
            <a:off x="4237789" y="4758219"/>
            <a:ext cx="6938213" cy="676656"/>
          </a:xfrm>
          <a:prstGeom prst="rect">
            <a:avLst/>
          </a:prstGeom>
        </p:spPr>
        <p:txBody>
          <a:bodyPr vert="horz" wrap="square" lIns="0" tIns="0" rIns="0" bIns="0">
            <a:noAutofit/>
          </a:bodyPr>
          <a:lstStyle>
            <a:lvl1pPr>
              <a:spcBef>
                <a:spcPts val="299"/>
              </a:spcBef>
              <a:spcAft>
                <a:spcPts val="0"/>
              </a:spcAft>
              <a:defRPr sz="1400" b="1" i="0">
                <a:solidFill>
                  <a:schemeClr val="tx2"/>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noProof="0" smtClean="0"/>
              <a:t>Click to edit Master text styles</a:t>
            </a:r>
          </a:p>
        </p:txBody>
      </p:sp>
      <p:sp>
        <p:nvSpPr>
          <p:cNvPr id="15" name="Title 2"/>
          <p:cNvSpPr>
            <a:spLocks noGrp="1"/>
          </p:cNvSpPr>
          <p:nvPr>
            <p:ph type="title"/>
          </p:nvPr>
        </p:nvSpPr>
        <p:spPr>
          <a:xfrm>
            <a:off x="4212391" y="1344706"/>
            <a:ext cx="6963611" cy="2618236"/>
          </a:xfrm>
          <a:prstGeom prst="rect">
            <a:avLst/>
          </a:prstGeom>
        </p:spPr>
        <p:txBody>
          <a:bodyPr wrap="square" lIns="0" tIns="0" rIns="0" bIns="0" anchor="t" anchorCtr="0">
            <a:noAutofit/>
          </a:bodyPr>
          <a:lstStyle>
            <a:lvl1pPr>
              <a:lnSpc>
                <a:spcPts val="9866"/>
              </a:lnSpc>
              <a:defRPr sz="11000">
                <a:solidFill>
                  <a:schemeClr val="tx2"/>
                </a:solidFill>
                <a:latin typeface="KPMG Extralight"/>
                <a:cs typeface="KPMG Extralight"/>
              </a:defRPr>
            </a:lvl1pPr>
          </a:lstStyle>
          <a:p>
            <a:r>
              <a:rPr lang="en-US" noProof="0" smtClean="0"/>
              <a:t>Click to edit Master title style</a:t>
            </a:r>
            <a:endParaRPr lang="en-CA" noProof="0" dirty="0"/>
          </a:p>
        </p:txBody>
      </p:sp>
      <p:sp>
        <p:nvSpPr>
          <p:cNvPr id="16" name="Freeform 228"/>
          <p:cNvSpPr>
            <a:spLocks noEditPoints="1"/>
          </p:cNvSpPr>
          <p:nvPr userDrawn="1"/>
        </p:nvSpPr>
        <p:spPr bwMode="auto">
          <a:xfrm>
            <a:off x="4207417" y="681039"/>
            <a:ext cx="1021712" cy="411956"/>
          </a:xfrm>
          <a:custGeom>
            <a:avLst/>
            <a:gdLst>
              <a:gd name="T0" fmla="*/ 1076 w 1134"/>
              <a:gd name="T1" fmla="*/ 308 h 455"/>
              <a:gd name="T2" fmla="*/ 891 w 1134"/>
              <a:gd name="T3" fmla="*/ 347 h 455"/>
              <a:gd name="T4" fmla="*/ 980 w 1134"/>
              <a:gd name="T5" fmla="*/ 241 h 455"/>
              <a:gd name="T6" fmla="*/ 1079 w 1134"/>
              <a:gd name="T7" fmla="*/ 223 h 455"/>
              <a:gd name="T8" fmla="*/ 891 w 1134"/>
              <a:gd name="T9" fmla="*/ 9 h 455"/>
              <a:gd name="T10" fmla="*/ 987 w 1134"/>
              <a:gd name="T11" fmla="*/ 404 h 455"/>
              <a:gd name="T12" fmla="*/ 999 w 1134"/>
              <a:gd name="T13" fmla="*/ 356 h 455"/>
              <a:gd name="T14" fmla="*/ 852 w 1134"/>
              <a:gd name="T15" fmla="*/ 259 h 455"/>
              <a:gd name="T16" fmla="*/ 783 w 1134"/>
              <a:gd name="T17" fmla="*/ 347 h 455"/>
              <a:gd name="T18" fmla="*/ 625 w 1134"/>
              <a:gd name="T19" fmla="*/ 347 h 455"/>
              <a:gd name="T20" fmla="*/ 852 w 1134"/>
              <a:gd name="T21" fmla="*/ 9 h 455"/>
              <a:gd name="T22" fmla="*/ 687 w 1134"/>
              <a:gd name="T23" fmla="*/ 347 h 455"/>
              <a:gd name="T24" fmla="*/ 580 w 1134"/>
              <a:gd name="T25" fmla="*/ 207 h 455"/>
              <a:gd name="T26" fmla="*/ 419 w 1134"/>
              <a:gd name="T27" fmla="*/ 347 h 455"/>
              <a:gd name="T28" fmla="*/ 393 w 1134"/>
              <a:gd name="T29" fmla="*/ 207 h 455"/>
              <a:gd name="T30" fmla="*/ 580 w 1134"/>
              <a:gd name="T31" fmla="*/ 9 h 455"/>
              <a:gd name="T32" fmla="*/ 567 w 1134"/>
              <a:gd name="T33" fmla="*/ 259 h 455"/>
              <a:gd name="T34" fmla="*/ 372 w 1134"/>
              <a:gd name="T35" fmla="*/ 313 h 455"/>
              <a:gd name="T36" fmla="*/ 356 w 1134"/>
              <a:gd name="T37" fmla="*/ 314 h 455"/>
              <a:gd name="T38" fmla="*/ 352 w 1134"/>
              <a:gd name="T39" fmla="*/ 275 h 455"/>
              <a:gd name="T40" fmla="*/ 381 w 1134"/>
              <a:gd name="T41" fmla="*/ 246 h 455"/>
              <a:gd name="T42" fmla="*/ 372 w 1134"/>
              <a:gd name="T43" fmla="*/ 313 h 455"/>
              <a:gd name="T44" fmla="*/ 270 w 1134"/>
              <a:gd name="T45" fmla="*/ 343 h 455"/>
              <a:gd name="T46" fmla="*/ 150 w 1134"/>
              <a:gd name="T47" fmla="*/ 329 h 455"/>
              <a:gd name="T48" fmla="*/ 100 w 1134"/>
              <a:gd name="T49" fmla="*/ 307 h 455"/>
              <a:gd name="T50" fmla="*/ 74 w 1134"/>
              <a:gd name="T51" fmla="*/ 9 h 455"/>
              <a:gd name="T52" fmla="*/ 882 w 1134"/>
              <a:gd name="T53" fmla="*/ 0 h 455"/>
              <a:gd name="T54" fmla="*/ 861 w 1134"/>
              <a:gd name="T55" fmla="*/ 0 h 455"/>
              <a:gd name="T56" fmla="*/ 589 w 1134"/>
              <a:gd name="T57" fmla="*/ 207 h 455"/>
              <a:gd name="T58" fmla="*/ 337 w 1134"/>
              <a:gd name="T59" fmla="*/ 207 h 455"/>
              <a:gd name="T60" fmla="*/ 65 w 1134"/>
              <a:gd name="T61" fmla="*/ 0 h 455"/>
              <a:gd name="T62" fmla="*/ 57 w 1134"/>
              <a:gd name="T63" fmla="*/ 450 h 455"/>
              <a:gd name="T64" fmla="*/ 140 w 1134"/>
              <a:gd name="T65" fmla="*/ 450 h 455"/>
              <a:gd name="T66" fmla="*/ 266 w 1134"/>
              <a:gd name="T67" fmla="*/ 356 h 455"/>
              <a:gd name="T68" fmla="*/ 327 w 1134"/>
              <a:gd name="T69" fmla="*/ 356 h 455"/>
              <a:gd name="T70" fmla="*/ 360 w 1134"/>
              <a:gd name="T71" fmla="*/ 356 h 455"/>
              <a:gd name="T72" fmla="*/ 451 w 1134"/>
              <a:gd name="T73" fmla="*/ 450 h 455"/>
              <a:gd name="T74" fmla="*/ 568 w 1134"/>
              <a:gd name="T75" fmla="*/ 356 h 455"/>
              <a:gd name="T76" fmla="*/ 681 w 1134"/>
              <a:gd name="T77" fmla="*/ 356 h 455"/>
              <a:gd name="T78" fmla="*/ 761 w 1134"/>
              <a:gd name="T79" fmla="*/ 450 h 455"/>
              <a:gd name="T80" fmla="*/ 842 w 1134"/>
              <a:gd name="T81" fmla="*/ 429 h 455"/>
              <a:gd name="T82" fmla="*/ 1064 w 1134"/>
              <a:gd name="T83" fmla="*/ 356 h 455"/>
              <a:gd name="T84" fmla="*/ 882 w 1134"/>
              <a:gd name="T85"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34" h="455">
                <a:moveTo>
                  <a:pt x="1125" y="347"/>
                </a:moveTo>
                <a:cubicBezTo>
                  <a:pt x="1066" y="347"/>
                  <a:pt x="1066" y="347"/>
                  <a:pt x="1066" y="347"/>
                </a:cubicBezTo>
                <a:cubicBezTo>
                  <a:pt x="1076" y="308"/>
                  <a:pt x="1076" y="308"/>
                  <a:pt x="1076" y="308"/>
                </a:cubicBezTo>
                <a:cubicBezTo>
                  <a:pt x="958" y="308"/>
                  <a:pt x="958" y="308"/>
                  <a:pt x="958" y="308"/>
                </a:cubicBezTo>
                <a:cubicBezTo>
                  <a:pt x="948" y="347"/>
                  <a:pt x="948" y="347"/>
                  <a:pt x="948" y="347"/>
                </a:cubicBezTo>
                <a:cubicBezTo>
                  <a:pt x="891" y="347"/>
                  <a:pt x="891" y="347"/>
                  <a:pt x="891" y="347"/>
                </a:cubicBezTo>
                <a:cubicBezTo>
                  <a:pt x="891" y="339"/>
                  <a:pt x="891" y="339"/>
                  <a:pt x="891" y="339"/>
                </a:cubicBezTo>
                <a:cubicBezTo>
                  <a:pt x="892" y="334"/>
                  <a:pt x="893" y="330"/>
                  <a:pt x="894" y="325"/>
                </a:cubicBezTo>
                <a:cubicBezTo>
                  <a:pt x="904" y="283"/>
                  <a:pt x="932" y="241"/>
                  <a:pt x="980" y="241"/>
                </a:cubicBezTo>
                <a:cubicBezTo>
                  <a:pt x="998" y="241"/>
                  <a:pt x="1017" y="248"/>
                  <a:pt x="1015" y="275"/>
                </a:cubicBezTo>
                <a:cubicBezTo>
                  <a:pt x="1085" y="275"/>
                  <a:pt x="1085" y="275"/>
                  <a:pt x="1085" y="275"/>
                </a:cubicBezTo>
                <a:cubicBezTo>
                  <a:pt x="1088" y="262"/>
                  <a:pt x="1092" y="242"/>
                  <a:pt x="1079" y="223"/>
                </a:cubicBezTo>
                <a:cubicBezTo>
                  <a:pt x="1064" y="202"/>
                  <a:pt x="1034" y="194"/>
                  <a:pt x="995" y="194"/>
                </a:cubicBezTo>
                <a:cubicBezTo>
                  <a:pt x="967" y="194"/>
                  <a:pt x="926" y="198"/>
                  <a:pt x="891" y="221"/>
                </a:cubicBezTo>
                <a:cubicBezTo>
                  <a:pt x="891" y="9"/>
                  <a:pt x="891" y="9"/>
                  <a:pt x="891" y="9"/>
                </a:cubicBezTo>
                <a:cubicBezTo>
                  <a:pt x="1125" y="9"/>
                  <a:pt x="1125" y="9"/>
                  <a:pt x="1125" y="9"/>
                </a:cubicBezTo>
                <a:lnTo>
                  <a:pt x="1125" y="347"/>
                </a:lnTo>
                <a:close/>
                <a:moveTo>
                  <a:pt x="987" y="404"/>
                </a:moveTo>
                <a:cubicBezTo>
                  <a:pt x="974" y="406"/>
                  <a:pt x="960" y="408"/>
                  <a:pt x="948" y="408"/>
                </a:cubicBezTo>
                <a:cubicBezTo>
                  <a:pt x="914" y="408"/>
                  <a:pt x="891" y="392"/>
                  <a:pt x="890" y="356"/>
                </a:cubicBezTo>
                <a:cubicBezTo>
                  <a:pt x="999" y="356"/>
                  <a:pt x="999" y="356"/>
                  <a:pt x="999" y="356"/>
                </a:cubicBezTo>
                <a:lnTo>
                  <a:pt x="987" y="404"/>
                </a:lnTo>
                <a:close/>
                <a:moveTo>
                  <a:pt x="852" y="211"/>
                </a:moveTo>
                <a:cubicBezTo>
                  <a:pt x="852" y="259"/>
                  <a:pt x="852" y="259"/>
                  <a:pt x="852" y="259"/>
                </a:cubicBezTo>
                <a:cubicBezTo>
                  <a:pt x="836" y="282"/>
                  <a:pt x="826" y="306"/>
                  <a:pt x="821" y="326"/>
                </a:cubicBezTo>
                <a:cubicBezTo>
                  <a:pt x="819" y="333"/>
                  <a:pt x="818" y="340"/>
                  <a:pt x="817" y="347"/>
                </a:cubicBezTo>
                <a:cubicBezTo>
                  <a:pt x="783" y="347"/>
                  <a:pt x="783" y="347"/>
                  <a:pt x="783" y="347"/>
                </a:cubicBezTo>
                <a:cubicBezTo>
                  <a:pt x="812" y="207"/>
                  <a:pt x="812" y="207"/>
                  <a:pt x="812" y="207"/>
                </a:cubicBezTo>
                <a:cubicBezTo>
                  <a:pt x="713" y="207"/>
                  <a:pt x="713" y="207"/>
                  <a:pt x="713" y="207"/>
                </a:cubicBezTo>
                <a:cubicBezTo>
                  <a:pt x="625" y="347"/>
                  <a:pt x="625" y="347"/>
                  <a:pt x="625" y="347"/>
                </a:cubicBezTo>
                <a:cubicBezTo>
                  <a:pt x="618" y="347"/>
                  <a:pt x="618" y="347"/>
                  <a:pt x="618" y="347"/>
                </a:cubicBezTo>
                <a:cubicBezTo>
                  <a:pt x="618" y="9"/>
                  <a:pt x="618" y="9"/>
                  <a:pt x="618" y="9"/>
                </a:cubicBezTo>
                <a:cubicBezTo>
                  <a:pt x="852" y="9"/>
                  <a:pt x="852" y="9"/>
                  <a:pt x="852" y="9"/>
                </a:cubicBezTo>
                <a:lnTo>
                  <a:pt x="852" y="211"/>
                </a:lnTo>
                <a:close/>
                <a:moveTo>
                  <a:pt x="722" y="347"/>
                </a:moveTo>
                <a:cubicBezTo>
                  <a:pt x="687" y="347"/>
                  <a:pt x="687" y="347"/>
                  <a:pt x="687" y="347"/>
                </a:cubicBezTo>
                <a:cubicBezTo>
                  <a:pt x="740" y="263"/>
                  <a:pt x="740" y="263"/>
                  <a:pt x="740" y="263"/>
                </a:cubicBezTo>
                <a:lnTo>
                  <a:pt x="722" y="347"/>
                </a:lnTo>
                <a:close/>
                <a:moveTo>
                  <a:pt x="580" y="207"/>
                </a:moveTo>
                <a:cubicBezTo>
                  <a:pt x="521" y="207"/>
                  <a:pt x="521" y="207"/>
                  <a:pt x="521" y="207"/>
                </a:cubicBezTo>
                <a:cubicBezTo>
                  <a:pt x="481" y="347"/>
                  <a:pt x="481" y="347"/>
                  <a:pt x="481" y="347"/>
                </a:cubicBezTo>
                <a:cubicBezTo>
                  <a:pt x="419" y="347"/>
                  <a:pt x="419" y="347"/>
                  <a:pt x="419" y="347"/>
                </a:cubicBezTo>
                <a:cubicBezTo>
                  <a:pt x="451" y="335"/>
                  <a:pt x="470" y="313"/>
                  <a:pt x="476" y="280"/>
                </a:cubicBezTo>
                <a:cubicBezTo>
                  <a:pt x="481" y="254"/>
                  <a:pt x="478" y="237"/>
                  <a:pt x="468" y="224"/>
                </a:cubicBezTo>
                <a:cubicBezTo>
                  <a:pt x="452" y="205"/>
                  <a:pt x="421" y="207"/>
                  <a:pt x="393" y="207"/>
                </a:cubicBezTo>
                <a:cubicBezTo>
                  <a:pt x="388" y="207"/>
                  <a:pt x="346" y="207"/>
                  <a:pt x="346" y="207"/>
                </a:cubicBezTo>
                <a:cubicBezTo>
                  <a:pt x="346" y="9"/>
                  <a:pt x="346" y="9"/>
                  <a:pt x="346" y="9"/>
                </a:cubicBezTo>
                <a:cubicBezTo>
                  <a:pt x="580" y="9"/>
                  <a:pt x="580" y="9"/>
                  <a:pt x="580" y="9"/>
                </a:cubicBezTo>
                <a:lnTo>
                  <a:pt x="580" y="207"/>
                </a:lnTo>
                <a:close/>
                <a:moveTo>
                  <a:pt x="542" y="347"/>
                </a:moveTo>
                <a:cubicBezTo>
                  <a:pt x="567" y="259"/>
                  <a:pt x="567" y="259"/>
                  <a:pt x="567" y="259"/>
                </a:cubicBezTo>
                <a:cubicBezTo>
                  <a:pt x="568" y="347"/>
                  <a:pt x="568" y="347"/>
                  <a:pt x="568" y="347"/>
                </a:cubicBezTo>
                <a:lnTo>
                  <a:pt x="542" y="347"/>
                </a:lnTo>
                <a:close/>
                <a:moveTo>
                  <a:pt x="372" y="313"/>
                </a:moveTo>
                <a:cubicBezTo>
                  <a:pt x="372" y="313"/>
                  <a:pt x="372" y="313"/>
                  <a:pt x="372" y="313"/>
                </a:cubicBezTo>
                <a:cubicBezTo>
                  <a:pt x="370" y="314"/>
                  <a:pt x="368" y="314"/>
                  <a:pt x="365" y="314"/>
                </a:cubicBezTo>
                <a:cubicBezTo>
                  <a:pt x="362" y="314"/>
                  <a:pt x="359" y="314"/>
                  <a:pt x="356" y="314"/>
                </a:cubicBezTo>
                <a:cubicBezTo>
                  <a:pt x="341" y="314"/>
                  <a:pt x="341" y="314"/>
                  <a:pt x="341" y="314"/>
                </a:cubicBezTo>
                <a:cubicBezTo>
                  <a:pt x="348" y="288"/>
                  <a:pt x="348" y="288"/>
                  <a:pt x="348" y="288"/>
                </a:cubicBezTo>
                <a:cubicBezTo>
                  <a:pt x="352" y="275"/>
                  <a:pt x="352" y="275"/>
                  <a:pt x="352" y="275"/>
                </a:cubicBezTo>
                <a:cubicBezTo>
                  <a:pt x="359" y="246"/>
                  <a:pt x="359" y="246"/>
                  <a:pt x="359" y="246"/>
                </a:cubicBezTo>
                <a:cubicBezTo>
                  <a:pt x="363" y="246"/>
                  <a:pt x="366" y="246"/>
                  <a:pt x="370" y="246"/>
                </a:cubicBezTo>
                <a:cubicBezTo>
                  <a:pt x="373" y="246"/>
                  <a:pt x="377" y="246"/>
                  <a:pt x="381" y="246"/>
                </a:cubicBezTo>
                <a:cubicBezTo>
                  <a:pt x="401" y="246"/>
                  <a:pt x="413" y="247"/>
                  <a:pt x="418" y="253"/>
                </a:cubicBezTo>
                <a:cubicBezTo>
                  <a:pt x="421" y="258"/>
                  <a:pt x="421" y="266"/>
                  <a:pt x="417" y="279"/>
                </a:cubicBezTo>
                <a:cubicBezTo>
                  <a:pt x="410" y="300"/>
                  <a:pt x="401" y="311"/>
                  <a:pt x="372" y="313"/>
                </a:cubicBezTo>
                <a:moveTo>
                  <a:pt x="307" y="219"/>
                </a:moveTo>
                <a:cubicBezTo>
                  <a:pt x="304" y="231"/>
                  <a:pt x="304" y="231"/>
                  <a:pt x="304" y="231"/>
                </a:cubicBezTo>
                <a:cubicBezTo>
                  <a:pt x="270" y="343"/>
                  <a:pt x="270" y="343"/>
                  <a:pt x="270" y="343"/>
                </a:cubicBezTo>
                <a:cubicBezTo>
                  <a:pt x="269" y="347"/>
                  <a:pt x="269" y="347"/>
                  <a:pt x="269" y="347"/>
                </a:cubicBezTo>
                <a:cubicBezTo>
                  <a:pt x="159" y="347"/>
                  <a:pt x="159" y="347"/>
                  <a:pt x="159" y="347"/>
                </a:cubicBezTo>
                <a:cubicBezTo>
                  <a:pt x="150" y="329"/>
                  <a:pt x="150" y="329"/>
                  <a:pt x="150" y="329"/>
                </a:cubicBezTo>
                <a:cubicBezTo>
                  <a:pt x="269" y="207"/>
                  <a:pt x="269" y="207"/>
                  <a:pt x="269" y="207"/>
                </a:cubicBezTo>
                <a:cubicBezTo>
                  <a:pt x="192" y="207"/>
                  <a:pt x="192" y="207"/>
                  <a:pt x="192" y="207"/>
                </a:cubicBezTo>
                <a:cubicBezTo>
                  <a:pt x="100" y="307"/>
                  <a:pt x="100" y="307"/>
                  <a:pt x="100" y="307"/>
                </a:cubicBezTo>
                <a:cubicBezTo>
                  <a:pt x="130" y="207"/>
                  <a:pt x="130" y="207"/>
                  <a:pt x="130" y="207"/>
                </a:cubicBezTo>
                <a:cubicBezTo>
                  <a:pt x="74" y="207"/>
                  <a:pt x="74" y="207"/>
                  <a:pt x="74" y="207"/>
                </a:cubicBezTo>
                <a:cubicBezTo>
                  <a:pt x="74" y="9"/>
                  <a:pt x="74" y="9"/>
                  <a:pt x="74" y="9"/>
                </a:cubicBezTo>
                <a:cubicBezTo>
                  <a:pt x="307" y="9"/>
                  <a:pt x="307" y="9"/>
                  <a:pt x="307" y="9"/>
                </a:cubicBezTo>
                <a:lnTo>
                  <a:pt x="307" y="219"/>
                </a:lnTo>
                <a:close/>
                <a:moveTo>
                  <a:pt x="882" y="0"/>
                </a:moveTo>
                <a:cubicBezTo>
                  <a:pt x="882" y="227"/>
                  <a:pt x="882" y="227"/>
                  <a:pt x="882" y="227"/>
                </a:cubicBezTo>
                <a:cubicBezTo>
                  <a:pt x="874" y="234"/>
                  <a:pt x="868" y="240"/>
                  <a:pt x="861" y="247"/>
                </a:cubicBezTo>
                <a:cubicBezTo>
                  <a:pt x="861" y="0"/>
                  <a:pt x="861" y="0"/>
                  <a:pt x="861" y="0"/>
                </a:cubicBezTo>
                <a:cubicBezTo>
                  <a:pt x="610" y="0"/>
                  <a:pt x="610" y="0"/>
                  <a:pt x="610" y="0"/>
                </a:cubicBezTo>
                <a:cubicBezTo>
                  <a:pt x="610" y="207"/>
                  <a:pt x="610" y="207"/>
                  <a:pt x="610" y="207"/>
                </a:cubicBezTo>
                <a:cubicBezTo>
                  <a:pt x="589" y="207"/>
                  <a:pt x="589" y="207"/>
                  <a:pt x="589" y="207"/>
                </a:cubicBezTo>
                <a:cubicBezTo>
                  <a:pt x="589" y="0"/>
                  <a:pt x="589" y="0"/>
                  <a:pt x="589" y="0"/>
                </a:cubicBezTo>
                <a:cubicBezTo>
                  <a:pt x="337" y="0"/>
                  <a:pt x="337" y="0"/>
                  <a:pt x="337" y="0"/>
                </a:cubicBezTo>
                <a:cubicBezTo>
                  <a:pt x="337" y="207"/>
                  <a:pt x="337" y="207"/>
                  <a:pt x="337" y="207"/>
                </a:cubicBezTo>
                <a:cubicBezTo>
                  <a:pt x="316" y="207"/>
                  <a:pt x="316" y="207"/>
                  <a:pt x="316" y="207"/>
                </a:cubicBezTo>
                <a:cubicBezTo>
                  <a:pt x="316" y="0"/>
                  <a:pt x="316" y="0"/>
                  <a:pt x="316" y="0"/>
                </a:cubicBezTo>
                <a:cubicBezTo>
                  <a:pt x="65" y="0"/>
                  <a:pt x="65" y="0"/>
                  <a:pt x="65" y="0"/>
                </a:cubicBezTo>
                <a:cubicBezTo>
                  <a:pt x="65" y="236"/>
                  <a:pt x="65" y="236"/>
                  <a:pt x="65" y="236"/>
                </a:cubicBezTo>
                <a:cubicBezTo>
                  <a:pt x="0" y="450"/>
                  <a:pt x="0" y="450"/>
                  <a:pt x="0" y="450"/>
                </a:cubicBezTo>
                <a:cubicBezTo>
                  <a:pt x="57" y="450"/>
                  <a:pt x="57" y="450"/>
                  <a:pt x="57" y="450"/>
                </a:cubicBezTo>
                <a:cubicBezTo>
                  <a:pt x="85" y="356"/>
                  <a:pt x="85" y="356"/>
                  <a:pt x="85" y="356"/>
                </a:cubicBezTo>
                <a:cubicBezTo>
                  <a:pt x="93" y="356"/>
                  <a:pt x="93" y="356"/>
                  <a:pt x="93" y="356"/>
                </a:cubicBezTo>
                <a:cubicBezTo>
                  <a:pt x="140" y="450"/>
                  <a:pt x="140" y="450"/>
                  <a:pt x="140" y="450"/>
                </a:cubicBezTo>
                <a:cubicBezTo>
                  <a:pt x="208" y="450"/>
                  <a:pt x="208" y="450"/>
                  <a:pt x="208" y="450"/>
                </a:cubicBezTo>
                <a:cubicBezTo>
                  <a:pt x="163" y="356"/>
                  <a:pt x="163" y="356"/>
                  <a:pt x="163" y="356"/>
                </a:cubicBezTo>
                <a:cubicBezTo>
                  <a:pt x="266" y="356"/>
                  <a:pt x="266" y="356"/>
                  <a:pt x="266" y="356"/>
                </a:cubicBezTo>
                <a:cubicBezTo>
                  <a:pt x="237" y="450"/>
                  <a:pt x="237" y="450"/>
                  <a:pt x="237" y="450"/>
                </a:cubicBezTo>
                <a:cubicBezTo>
                  <a:pt x="299" y="450"/>
                  <a:pt x="299" y="450"/>
                  <a:pt x="299" y="450"/>
                </a:cubicBezTo>
                <a:cubicBezTo>
                  <a:pt x="327" y="356"/>
                  <a:pt x="327" y="356"/>
                  <a:pt x="327" y="356"/>
                </a:cubicBezTo>
                <a:cubicBezTo>
                  <a:pt x="341" y="356"/>
                  <a:pt x="341" y="356"/>
                  <a:pt x="341" y="356"/>
                </a:cubicBezTo>
                <a:cubicBezTo>
                  <a:pt x="341" y="356"/>
                  <a:pt x="341" y="356"/>
                  <a:pt x="341" y="356"/>
                </a:cubicBezTo>
                <a:cubicBezTo>
                  <a:pt x="360" y="356"/>
                  <a:pt x="360" y="356"/>
                  <a:pt x="360" y="356"/>
                </a:cubicBezTo>
                <a:cubicBezTo>
                  <a:pt x="362" y="356"/>
                  <a:pt x="362" y="356"/>
                  <a:pt x="362" y="356"/>
                </a:cubicBezTo>
                <a:cubicBezTo>
                  <a:pt x="478" y="356"/>
                  <a:pt x="478" y="356"/>
                  <a:pt x="478" y="356"/>
                </a:cubicBezTo>
                <a:cubicBezTo>
                  <a:pt x="451" y="450"/>
                  <a:pt x="451" y="450"/>
                  <a:pt x="451" y="450"/>
                </a:cubicBezTo>
                <a:cubicBezTo>
                  <a:pt x="513" y="450"/>
                  <a:pt x="513" y="450"/>
                  <a:pt x="513" y="450"/>
                </a:cubicBezTo>
                <a:cubicBezTo>
                  <a:pt x="540" y="356"/>
                  <a:pt x="540" y="356"/>
                  <a:pt x="540" y="356"/>
                </a:cubicBezTo>
                <a:cubicBezTo>
                  <a:pt x="568" y="356"/>
                  <a:pt x="568" y="356"/>
                  <a:pt x="568" y="356"/>
                </a:cubicBezTo>
                <a:cubicBezTo>
                  <a:pt x="569" y="450"/>
                  <a:pt x="569" y="450"/>
                  <a:pt x="569" y="450"/>
                </a:cubicBezTo>
                <a:cubicBezTo>
                  <a:pt x="621" y="450"/>
                  <a:pt x="621" y="450"/>
                  <a:pt x="621" y="450"/>
                </a:cubicBezTo>
                <a:cubicBezTo>
                  <a:pt x="681" y="356"/>
                  <a:pt x="681" y="356"/>
                  <a:pt x="681" y="356"/>
                </a:cubicBezTo>
                <a:cubicBezTo>
                  <a:pt x="720" y="356"/>
                  <a:pt x="720" y="356"/>
                  <a:pt x="720" y="356"/>
                </a:cubicBezTo>
                <a:cubicBezTo>
                  <a:pt x="700" y="450"/>
                  <a:pt x="700" y="450"/>
                  <a:pt x="700" y="450"/>
                </a:cubicBezTo>
                <a:cubicBezTo>
                  <a:pt x="761" y="450"/>
                  <a:pt x="761" y="450"/>
                  <a:pt x="761" y="450"/>
                </a:cubicBezTo>
                <a:cubicBezTo>
                  <a:pt x="781" y="356"/>
                  <a:pt x="781" y="356"/>
                  <a:pt x="781" y="356"/>
                </a:cubicBezTo>
                <a:cubicBezTo>
                  <a:pt x="816" y="356"/>
                  <a:pt x="816" y="356"/>
                  <a:pt x="816" y="356"/>
                </a:cubicBezTo>
                <a:cubicBezTo>
                  <a:pt x="815" y="385"/>
                  <a:pt x="822" y="411"/>
                  <a:pt x="842" y="429"/>
                </a:cubicBezTo>
                <a:cubicBezTo>
                  <a:pt x="866" y="451"/>
                  <a:pt x="902" y="455"/>
                  <a:pt x="929" y="455"/>
                </a:cubicBezTo>
                <a:cubicBezTo>
                  <a:pt x="966" y="455"/>
                  <a:pt x="1004" y="450"/>
                  <a:pt x="1043" y="441"/>
                </a:cubicBezTo>
                <a:cubicBezTo>
                  <a:pt x="1064" y="356"/>
                  <a:pt x="1064" y="356"/>
                  <a:pt x="1064" y="356"/>
                </a:cubicBezTo>
                <a:cubicBezTo>
                  <a:pt x="1134" y="356"/>
                  <a:pt x="1134" y="356"/>
                  <a:pt x="1134" y="356"/>
                </a:cubicBezTo>
                <a:cubicBezTo>
                  <a:pt x="1134" y="0"/>
                  <a:pt x="1134" y="0"/>
                  <a:pt x="1134" y="0"/>
                </a:cubicBezTo>
                <a:lnTo>
                  <a:pt x="882"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defTabSz="488582"/>
            <a:endParaRPr lang="en-CA" sz="1867" dirty="0">
              <a:solidFill>
                <a:srgbClr val="000000"/>
              </a:solidFill>
            </a:endParaRPr>
          </a:p>
        </p:txBody>
      </p:sp>
    </p:spTree>
    <p:extLst>
      <p:ext uri="{BB962C8B-B14F-4D97-AF65-F5344CB8AC3E}">
        <p14:creationId xmlns:p14="http://schemas.microsoft.com/office/powerpoint/2010/main" val="389605202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smtClean="0"/>
              <a:t>Click to edit Master title style</a:t>
            </a:r>
            <a:endParaRPr lang="en-CA" noProof="0" dirty="0"/>
          </a:p>
        </p:txBody>
      </p:sp>
      <p:sp>
        <p:nvSpPr>
          <p:cNvPr id="6" name="Text Placeholder 5"/>
          <p:cNvSpPr>
            <a:spLocks noGrp="1"/>
          </p:cNvSpPr>
          <p:nvPr>
            <p:ph type="body" sz="quarter" idx="10"/>
          </p:nvPr>
        </p:nvSpPr>
        <p:spPr>
          <a:xfrm>
            <a:off x="996951" y="1526721"/>
            <a:ext cx="10176935" cy="4378778"/>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Tree>
    <p:extLst>
      <p:ext uri="{BB962C8B-B14F-4D97-AF65-F5344CB8AC3E}">
        <p14:creationId xmlns:p14="http://schemas.microsoft.com/office/powerpoint/2010/main" val="288369061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WITH Super title">
    <p:spTree>
      <p:nvGrpSpPr>
        <p:cNvPr id="1" name=""/>
        <p:cNvGrpSpPr/>
        <p:nvPr/>
      </p:nvGrpSpPr>
      <p:grpSpPr>
        <a:xfrm>
          <a:off x="0" y="0"/>
          <a:ext cx="0" cy="0"/>
          <a:chOff x="0" y="0"/>
          <a:chExt cx="0" cy="0"/>
        </a:xfrm>
      </p:grpSpPr>
      <p:sp>
        <p:nvSpPr>
          <p:cNvPr id="2" name="Titre 1"/>
          <p:cNvSpPr>
            <a:spLocks noGrp="1"/>
          </p:cNvSpPr>
          <p:nvPr>
            <p:ph type="title"/>
          </p:nvPr>
        </p:nvSpPr>
        <p:spPr bwMode="gray"/>
        <p:txBody>
          <a:bodyPr/>
          <a:lstStyle/>
          <a:p>
            <a:r>
              <a:rPr lang="en-US" noProof="0" smtClean="0"/>
              <a:t>Click to edit Master title style</a:t>
            </a:r>
            <a:endParaRPr lang="en-CA" noProof="0" dirty="0"/>
          </a:p>
        </p:txBody>
      </p:sp>
      <p:sp>
        <p:nvSpPr>
          <p:cNvPr id="6" name="Text Placeholder 5"/>
          <p:cNvSpPr>
            <a:spLocks noGrp="1"/>
          </p:cNvSpPr>
          <p:nvPr>
            <p:ph type="body" sz="quarter" idx="10"/>
          </p:nvPr>
        </p:nvSpPr>
        <p:spPr>
          <a:xfrm>
            <a:off x="996951" y="1526721"/>
            <a:ext cx="10176935" cy="4378778"/>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Espace réservé du texte 3"/>
          <p:cNvSpPr>
            <a:spLocks noGrp="1"/>
          </p:cNvSpPr>
          <p:nvPr>
            <p:ph type="body" sz="quarter" idx="11"/>
          </p:nvPr>
        </p:nvSpPr>
        <p:spPr>
          <a:xfrm>
            <a:off x="997200" y="313756"/>
            <a:ext cx="10177200" cy="215444"/>
          </a:xfrm>
        </p:spPr>
        <p:txBody>
          <a:bodyPr anchor="b" anchorCtr="0">
            <a:spAutoFit/>
          </a:bodyPr>
          <a:lstStyle>
            <a:lvl1pPr>
              <a:defRPr sz="1400"/>
            </a:lvl1pPr>
          </a:lstStyle>
          <a:p>
            <a:pPr lvl="0"/>
            <a:r>
              <a:rPr lang="en-US" smtClean="0"/>
              <a:t>Click to edit Master text styles</a:t>
            </a:r>
          </a:p>
        </p:txBody>
      </p:sp>
    </p:spTree>
    <p:extLst>
      <p:ext uri="{BB962C8B-B14F-4D97-AF65-F5344CB8AC3E}">
        <p14:creationId xmlns:p14="http://schemas.microsoft.com/office/powerpoint/2010/main" val="220881588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CA" noProof="0" dirty="0"/>
          </a:p>
        </p:txBody>
      </p:sp>
    </p:spTree>
    <p:extLst>
      <p:ext uri="{BB962C8B-B14F-4D97-AF65-F5344CB8AC3E}">
        <p14:creationId xmlns:p14="http://schemas.microsoft.com/office/powerpoint/2010/main" val="26994243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Super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CA" noProof="0" dirty="0"/>
          </a:p>
        </p:txBody>
      </p:sp>
      <p:sp>
        <p:nvSpPr>
          <p:cNvPr id="3" name="Espace réservé du texte 5"/>
          <p:cNvSpPr>
            <a:spLocks noGrp="1"/>
          </p:cNvSpPr>
          <p:nvPr>
            <p:ph type="body" sz="quarter" idx="12"/>
          </p:nvPr>
        </p:nvSpPr>
        <p:spPr>
          <a:xfrm>
            <a:off x="996950" y="313110"/>
            <a:ext cx="10176935" cy="215444"/>
          </a:xfrm>
        </p:spPr>
        <p:txBody>
          <a:bodyPr wrap="square" anchor="b" anchorCtr="0">
            <a:spAutoFit/>
          </a:bodyPr>
          <a:lstStyle>
            <a:lvl1pPr>
              <a:defRPr sz="1400">
                <a:latin typeface="+mn-lt"/>
              </a:defRPr>
            </a:lvl1pPr>
          </a:lstStyle>
          <a:p>
            <a:pPr lvl="0"/>
            <a:r>
              <a:rPr lang="en-US" noProof="0" smtClean="0"/>
              <a:t>Click to edit Master text styles</a:t>
            </a:r>
          </a:p>
        </p:txBody>
      </p:sp>
    </p:spTree>
    <p:extLst>
      <p:ext uri="{BB962C8B-B14F-4D97-AF65-F5344CB8AC3E}">
        <p14:creationId xmlns:p14="http://schemas.microsoft.com/office/powerpoint/2010/main" val="400635034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CA" noProof="0" dirty="0"/>
          </a:p>
        </p:txBody>
      </p:sp>
      <p:sp>
        <p:nvSpPr>
          <p:cNvPr id="10" name="Picture Placeholder 5"/>
          <p:cNvSpPr>
            <a:spLocks noGrp="1"/>
          </p:cNvSpPr>
          <p:nvPr>
            <p:ph type="pic" sz="quarter" idx="11"/>
          </p:nvPr>
        </p:nvSpPr>
        <p:spPr>
          <a:xfrm>
            <a:off x="1016002" y="1524000"/>
            <a:ext cx="10181167" cy="4381500"/>
          </a:xfrm>
          <a:prstGeom prst="rect">
            <a:avLst/>
          </a:prstGeom>
          <a:noFill/>
        </p:spPr>
        <p:txBody>
          <a:bodyPr lIns="0" tIns="0" rIns="0" bIns="0"/>
          <a:lstStyle>
            <a:lvl1pPr>
              <a:defRPr b="1">
                <a:solidFill>
                  <a:srgbClr val="00338D"/>
                </a:solidFill>
                <a:latin typeface="Univers for KPMG" panose="020B0603020202020204" pitchFamily="34" charset="0"/>
                <a:cs typeface="Univers for KPMG" panose="020B0603020202020204" pitchFamily="34" charset="0"/>
              </a:defRPr>
            </a:lvl1pPr>
          </a:lstStyle>
          <a:p>
            <a:r>
              <a:rPr lang="en-US" noProof="0" smtClean="0"/>
              <a:t>Click icon to add picture</a:t>
            </a:r>
            <a:endParaRPr lang="en-CA" noProof="0" dirty="0"/>
          </a:p>
        </p:txBody>
      </p:sp>
    </p:spTree>
    <p:extLst>
      <p:ext uri="{BB962C8B-B14F-4D97-AF65-F5344CB8AC3E}">
        <p14:creationId xmlns:p14="http://schemas.microsoft.com/office/powerpoint/2010/main" val="156451623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3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996951" y="538843"/>
            <a:ext cx="10176935" cy="704858"/>
          </a:xfrm>
          <a:prstGeom prst="rect">
            <a:avLst/>
          </a:prstGeom>
        </p:spPr>
        <p:txBody>
          <a:bodyPr vert="horz" lIns="0" tIns="0" rIns="0" bIns="0" rtlCol="0" anchor="b" anchorCtr="0">
            <a:noAutofit/>
          </a:bodyPr>
          <a:lstStyle/>
          <a:p>
            <a:r>
              <a:rPr lang="en-US" noProof="0" smtClean="0"/>
              <a:t>Click to edit Master title style</a:t>
            </a:r>
            <a:endParaRPr lang="en-CA" noProof="0" dirty="0"/>
          </a:p>
        </p:txBody>
      </p:sp>
      <p:sp>
        <p:nvSpPr>
          <p:cNvPr id="8" name="Shape 36"/>
          <p:cNvSpPr/>
          <p:nvPr userDrawn="1"/>
        </p:nvSpPr>
        <p:spPr bwMode="gray">
          <a:xfrm>
            <a:off x="1946330" y="6246976"/>
            <a:ext cx="8778240" cy="455828"/>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nchorCtr="0"/>
          <a:lstStyle>
            <a:lvl1pPr defTabSz="914400">
              <a:defRPr sz="800">
                <a:solidFill>
                  <a:srgbClr val="004C97"/>
                </a:solidFill>
                <a:latin typeface="Univers for KPMG"/>
                <a:ea typeface="Univers for KPMG"/>
                <a:cs typeface="Univers for KPMG"/>
                <a:sym typeface="Univers for KPMG"/>
              </a:defRPr>
            </a:lvl1pPr>
          </a:lstStyle>
          <a:p>
            <a:pPr>
              <a:defRPr sz="1800">
                <a:solidFill>
                  <a:srgbClr val="000000"/>
                </a:solidFill>
              </a:defRPr>
            </a:pPr>
            <a:r>
              <a:rPr lang="en-US" sz="700" dirty="0" smtClean="0">
                <a:solidFill>
                  <a:prstClr val="white">
                    <a:lumMod val="65000"/>
                  </a:prstClr>
                </a:solidFill>
                <a:latin typeface="Univers for KPMG Light"/>
                <a:ea typeface="Univers for KPMG Light"/>
                <a:cs typeface="Univers for KPMG Light"/>
              </a:rPr>
              <a:t>© 2017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a:t>
            </a:r>
            <a:endParaRPr lang="en-CA" sz="700" dirty="0" smtClean="0">
              <a:solidFill>
                <a:prstClr val="white">
                  <a:lumMod val="65000"/>
                </a:prstClr>
              </a:solidFill>
              <a:latin typeface="Univers for KPMG Light"/>
              <a:ea typeface="Univers for KPMG Light"/>
              <a:cs typeface="Univers for KPMG Light"/>
            </a:endParaRPr>
          </a:p>
        </p:txBody>
      </p:sp>
      <p:sp>
        <p:nvSpPr>
          <p:cNvPr id="4" name="Text Placeholder 3"/>
          <p:cNvSpPr>
            <a:spLocks noGrp="1"/>
          </p:cNvSpPr>
          <p:nvPr>
            <p:ph type="body" idx="1"/>
          </p:nvPr>
        </p:nvSpPr>
        <p:spPr bwMode="gray">
          <a:xfrm>
            <a:off x="996951" y="1526721"/>
            <a:ext cx="10176934" cy="4378779"/>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smtClean="0"/>
          </a:p>
        </p:txBody>
      </p:sp>
      <p:sp>
        <p:nvSpPr>
          <p:cNvPr id="11" name="Freeform 228"/>
          <p:cNvSpPr>
            <a:spLocks noEditPoints="1"/>
          </p:cNvSpPr>
          <p:nvPr userDrawn="1"/>
        </p:nvSpPr>
        <p:spPr bwMode="gray">
          <a:xfrm>
            <a:off x="971298" y="6221187"/>
            <a:ext cx="683671" cy="275657"/>
          </a:xfrm>
          <a:custGeom>
            <a:avLst/>
            <a:gdLst>
              <a:gd name="T0" fmla="*/ 1076 w 1134"/>
              <a:gd name="T1" fmla="*/ 308 h 455"/>
              <a:gd name="T2" fmla="*/ 891 w 1134"/>
              <a:gd name="T3" fmla="*/ 347 h 455"/>
              <a:gd name="T4" fmla="*/ 980 w 1134"/>
              <a:gd name="T5" fmla="*/ 241 h 455"/>
              <a:gd name="T6" fmla="*/ 1079 w 1134"/>
              <a:gd name="T7" fmla="*/ 223 h 455"/>
              <a:gd name="T8" fmla="*/ 891 w 1134"/>
              <a:gd name="T9" fmla="*/ 9 h 455"/>
              <a:gd name="T10" fmla="*/ 987 w 1134"/>
              <a:gd name="T11" fmla="*/ 404 h 455"/>
              <a:gd name="T12" fmla="*/ 999 w 1134"/>
              <a:gd name="T13" fmla="*/ 356 h 455"/>
              <a:gd name="T14" fmla="*/ 852 w 1134"/>
              <a:gd name="T15" fmla="*/ 259 h 455"/>
              <a:gd name="T16" fmla="*/ 783 w 1134"/>
              <a:gd name="T17" fmla="*/ 347 h 455"/>
              <a:gd name="T18" fmla="*/ 625 w 1134"/>
              <a:gd name="T19" fmla="*/ 347 h 455"/>
              <a:gd name="T20" fmla="*/ 852 w 1134"/>
              <a:gd name="T21" fmla="*/ 9 h 455"/>
              <a:gd name="T22" fmla="*/ 687 w 1134"/>
              <a:gd name="T23" fmla="*/ 347 h 455"/>
              <a:gd name="T24" fmla="*/ 580 w 1134"/>
              <a:gd name="T25" fmla="*/ 207 h 455"/>
              <a:gd name="T26" fmla="*/ 419 w 1134"/>
              <a:gd name="T27" fmla="*/ 347 h 455"/>
              <a:gd name="T28" fmla="*/ 393 w 1134"/>
              <a:gd name="T29" fmla="*/ 207 h 455"/>
              <a:gd name="T30" fmla="*/ 580 w 1134"/>
              <a:gd name="T31" fmla="*/ 9 h 455"/>
              <a:gd name="T32" fmla="*/ 567 w 1134"/>
              <a:gd name="T33" fmla="*/ 259 h 455"/>
              <a:gd name="T34" fmla="*/ 372 w 1134"/>
              <a:gd name="T35" fmla="*/ 313 h 455"/>
              <a:gd name="T36" fmla="*/ 356 w 1134"/>
              <a:gd name="T37" fmla="*/ 314 h 455"/>
              <a:gd name="T38" fmla="*/ 352 w 1134"/>
              <a:gd name="T39" fmla="*/ 275 h 455"/>
              <a:gd name="T40" fmla="*/ 381 w 1134"/>
              <a:gd name="T41" fmla="*/ 246 h 455"/>
              <a:gd name="T42" fmla="*/ 372 w 1134"/>
              <a:gd name="T43" fmla="*/ 313 h 455"/>
              <a:gd name="T44" fmla="*/ 270 w 1134"/>
              <a:gd name="T45" fmla="*/ 343 h 455"/>
              <a:gd name="T46" fmla="*/ 150 w 1134"/>
              <a:gd name="T47" fmla="*/ 329 h 455"/>
              <a:gd name="T48" fmla="*/ 100 w 1134"/>
              <a:gd name="T49" fmla="*/ 307 h 455"/>
              <a:gd name="T50" fmla="*/ 74 w 1134"/>
              <a:gd name="T51" fmla="*/ 9 h 455"/>
              <a:gd name="T52" fmla="*/ 882 w 1134"/>
              <a:gd name="T53" fmla="*/ 0 h 455"/>
              <a:gd name="T54" fmla="*/ 861 w 1134"/>
              <a:gd name="T55" fmla="*/ 0 h 455"/>
              <a:gd name="T56" fmla="*/ 589 w 1134"/>
              <a:gd name="T57" fmla="*/ 207 h 455"/>
              <a:gd name="T58" fmla="*/ 337 w 1134"/>
              <a:gd name="T59" fmla="*/ 207 h 455"/>
              <a:gd name="T60" fmla="*/ 65 w 1134"/>
              <a:gd name="T61" fmla="*/ 0 h 455"/>
              <a:gd name="T62" fmla="*/ 57 w 1134"/>
              <a:gd name="T63" fmla="*/ 450 h 455"/>
              <a:gd name="T64" fmla="*/ 140 w 1134"/>
              <a:gd name="T65" fmla="*/ 450 h 455"/>
              <a:gd name="T66" fmla="*/ 266 w 1134"/>
              <a:gd name="T67" fmla="*/ 356 h 455"/>
              <a:gd name="T68" fmla="*/ 327 w 1134"/>
              <a:gd name="T69" fmla="*/ 356 h 455"/>
              <a:gd name="T70" fmla="*/ 360 w 1134"/>
              <a:gd name="T71" fmla="*/ 356 h 455"/>
              <a:gd name="T72" fmla="*/ 451 w 1134"/>
              <a:gd name="T73" fmla="*/ 450 h 455"/>
              <a:gd name="T74" fmla="*/ 568 w 1134"/>
              <a:gd name="T75" fmla="*/ 356 h 455"/>
              <a:gd name="T76" fmla="*/ 681 w 1134"/>
              <a:gd name="T77" fmla="*/ 356 h 455"/>
              <a:gd name="T78" fmla="*/ 761 w 1134"/>
              <a:gd name="T79" fmla="*/ 450 h 455"/>
              <a:gd name="T80" fmla="*/ 842 w 1134"/>
              <a:gd name="T81" fmla="*/ 429 h 455"/>
              <a:gd name="T82" fmla="*/ 1064 w 1134"/>
              <a:gd name="T83" fmla="*/ 356 h 455"/>
              <a:gd name="T84" fmla="*/ 882 w 1134"/>
              <a:gd name="T85"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34" h="455">
                <a:moveTo>
                  <a:pt x="1125" y="347"/>
                </a:moveTo>
                <a:cubicBezTo>
                  <a:pt x="1066" y="347"/>
                  <a:pt x="1066" y="347"/>
                  <a:pt x="1066" y="347"/>
                </a:cubicBezTo>
                <a:cubicBezTo>
                  <a:pt x="1076" y="308"/>
                  <a:pt x="1076" y="308"/>
                  <a:pt x="1076" y="308"/>
                </a:cubicBezTo>
                <a:cubicBezTo>
                  <a:pt x="958" y="308"/>
                  <a:pt x="958" y="308"/>
                  <a:pt x="958" y="308"/>
                </a:cubicBezTo>
                <a:cubicBezTo>
                  <a:pt x="948" y="347"/>
                  <a:pt x="948" y="347"/>
                  <a:pt x="948" y="347"/>
                </a:cubicBezTo>
                <a:cubicBezTo>
                  <a:pt x="891" y="347"/>
                  <a:pt x="891" y="347"/>
                  <a:pt x="891" y="347"/>
                </a:cubicBezTo>
                <a:cubicBezTo>
                  <a:pt x="891" y="339"/>
                  <a:pt x="891" y="339"/>
                  <a:pt x="891" y="339"/>
                </a:cubicBezTo>
                <a:cubicBezTo>
                  <a:pt x="892" y="334"/>
                  <a:pt x="893" y="330"/>
                  <a:pt x="894" y="325"/>
                </a:cubicBezTo>
                <a:cubicBezTo>
                  <a:pt x="904" y="283"/>
                  <a:pt x="932" y="241"/>
                  <a:pt x="980" y="241"/>
                </a:cubicBezTo>
                <a:cubicBezTo>
                  <a:pt x="998" y="241"/>
                  <a:pt x="1017" y="248"/>
                  <a:pt x="1015" y="275"/>
                </a:cubicBezTo>
                <a:cubicBezTo>
                  <a:pt x="1085" y="275"/>
                  <a:pt x="1085" y="275"/>
                  <a:pt x="1085" y="275"/>
                </a:cubicBezTo>
                <a:cubicBezTo>
                  <a:pt x="1088" y="262"/>
                  <a:pt x="1092" y="242"/>
                  <a:pt x="1079" y="223"/>
                </a:cubicBezTo>
                <a:cubicBezTo>
                  <a:pt x="1064" y="202"/>
                  <a:pt x="1034" y="194"/>
                  <a:pt x="995" y="194"/>
                </a:cubicBezTo>
                <a:cubicBezTo>
                  <a:pt x="967" y="194"/>
                  <a:pt x="926" y="198"/>
                  <a:pt x="891" y="221"/>
                </a:cubicBezTo>
                <a:cubicBezTo>
                  <a:pt x="891" y="9"/>
                  <a:pt x="891" y="9"/>
                  <a:pt x="891" y="9"/>
                </a:cubicBezTo>
                <a:cubicBezTo>
                  <a:pt x="1125" y="9"/>
                  <a:pt x="1125" y="9"/>
                  <a:pt x="1125" y="9"/>
                </a:cubicBezTo>
                <a:lnTo>
                  <a:pt x="1125" y="347"/>
                </a:lnTo>
                <a:close/>
                <a:moveTo>
                  <a:pt x="987" y="404"/>
                </a:moveTo>
                <a:cubicBezTo>
                  <a:pt x="974" y="406"/>
                  <a:pt x="960" y="408"/>
                  <a:pt x="948" y="408"/>
                </a:cubicBezTo>
                <a:cubicBezTo>
                  <a:pt x="914" y="408"/>
                  <a:pt x="891" y="392"/>
                  <a:pt x="890" y="356"/>
                </a:cubicBezTo>
                <a:cubicBezTo>
                  <a:pt x="999" y="356"/>
                  <a:pt x="999" y="356"/>
                  <a:pt x="999" y="356"/>
                </a:cubicBezTo>
                <a:lnTo>
                  <a:pt x="987" y="404"/>
                </a:lnTo>
                <a:close/>
                <a:moveTo>
                  <a:pt x="852" y="211"/>
                </a:moveTo>
                <a:cubicBezTo>
                  <a:pt x="852" y="259"/>
                  <a:pt x="852" y="259"/>
                  <a:pt x="852" y="259"/>
                </a:cubicBezTo>
                <a:cubicBezTo>
                  <a:pt x="836" y="282"/>
                  <a:pt x="826" y="306"/>
                  <a:pt x="821" y="326"/>
                </a:cubicBezTo>
                <a:cubicBezTo>
                  <a:pt x="819" y="333"/>
                  <a:pt x="818" y="340"/>
                  <a:pt x="817" y="347"/>
                </a:cubicBezTo>
                <a:cubicBezTo>
                  <a:pt x="783" y="347"/>
                  <a:pt x="783" y="347"/>
                  <a:pt x="783" y="347"/>
                </a:cubicBezTo>
                <a:cubicBezTo>
                  <a:pt x="812" y="207"/>
                  <a:pt x="812" y="207"/>
                  <a:pt x="812" y="207"/>
                </a:cubicBezTo>
                <a:cubicBezTo>
                  <a:pt x="713" y="207"/>
                  <a:pt x="713" y="207"/>
                  <a:pt x="713" y="207"/>
                </a:cubicBezTo>
                <a:cubicBezTo>
                  <a:pt x="625" y="347"/>
                  <a:pt x="625" y="347"/>
                  <a:pt x="625" y="347"/>
                </a:cubicBezTo>
                <a:cubicBezTo>
                  <a:pt x="618" y="347"/>
                  <a:pt x="618" y="347"/>
                  <a:pt x="618" y="347"/>
                </a:cubicBezTo>
                <a:cubicBezTo>
                  <a:pt x="618" y="9"/>
                  <a:pt x="618" y="9"/>
                  <a:pt x="618" y="9"/>
                </a:cubicBezTo>
                <a:cubicBezTo>
                  <a:pt x="852" y="9"/>
                  <a:pt x="852" y="9"/>
                  <a:pt x="852" y="9"/>
                </a:cubicBezTo>
                <a:lnTo>
                  <a:pt x="852" y="211"/>
                </a:lnTo>
                <a:close/>
                <a:moveTo>
                  <a:pt x="722" y="347"/>
                </a:moveTo>
                <a:cubicBezTo>
                  <a:pt x="687" y="347"/>
                  <a:pt x="687" y="347"/>
                  <a:pt x="687" y="347"/>
                </a:cubicBezTo>
                <a:cubicBezTo>
                  <a:pt x="740" y="263"/>
                  <a:pt x="740" y="263"/>
                  <a:pt x="740" y="263"/>
                </a:cubicBezTo>
                <a:lnTo>
                  <a:pt x="722" y="347"/>
                </a:lnTo>
                <a:close/>
                <a:moveTo>
                  <a:pt x="580" y="207"/>
                </a:moveTo>
                <a:cubicBezTo>
                  <a:pt x="521" y="207"/>
                  <a:pt x="521" y="207"/>
                  <a:pt x="521" y="207"/>
                </a:cubicBezTo>
                <a:cubicBezTo>
                  <a:pt x="481" y="347"/>
                  <a:pt x="481" y="347"/>
                  <a:pt x="481" y="347"/>
                </a:cubicBezTo>
                <a:cubicBezTo>
                  <a:pt x="419" y="347"/>
                  <a:pt x="419" y="347"/>
                  <a:pt x="419" y="347"/>
                </a:cubicBezTo>
                <a:cubicBezTo>
                  <a:pt x="451" y="335"/>
                  <a:pt x="470" y="313"/>
                  <a:pt x="476" y="280"/>
                </a:cubicBezTo>
                <a:cubicBezTo>
                  <a:pt x="481" y="254"/>
                  <a:pt x="478" y="237"/>
                  <a:pt x="468" y="224"/>
                </a:cubicBezTo>
                <a:cubicBezTo>
                  <a:pt x="452" y="205"/>
                  <a:pt x="421" y="207"/>
                  <a:pt x="393" y="207"/>
                </a:cubicBezTo>
                <a:cubicBezTo>
                  <a:pt x="388" y="207"/>
                  <a:pt x="346" y="207"/>
                  <a:pt x="346" y="207"/>
                </a:cubicBezTo>
                <a:cubicBezTo>
                  <a:pt x="346" y="9"/>
                  <a:pt x="346" y="9"/>
                  <a:pt x="346" y="9"/>
                </a:cubicBezTo>
                <a:cubicBezTo>
                  <a:pt x="580" y="9"/>
                  <a:pt x="580" y="9"/>
                  <a:pt x="580" y="9"/>
                </a:cubicBezTo>
                <a:lnTo>
                  <a:pt x="580" y="207"/>
                </a:lnTo>
                <a:close/>
                <a:moveTo>
                  <a:pt x="542" y="347"/>
                </a:moveTo>
                <a:cubicBezTo>
                  <a:pt x="567" y="259"/>
                  <a:pt x="567" y="259"/>
                  <a:pt x="567" y="259"/>
                </a:cubicBezTo>
                <a:cubicBezTo>
                  <a:pt x="568" y="347"/>
                  <a:pt x="568" y="347"/>
                  <a:pt x="568" y="347"/>
                </a:cubicBezTo>
                <a:lnTo>
                  <a:pt x="542" y="347"/>
                </a:lnTo>
                <a:close/>
                <a:moveTo>
                  <a:pt x="372" y="313"/>
                </a:moveTo>
                <a:cubicBezTo>
                  <a:pt x="372" y="313"/>
                  <a:pt x="372" y="313"/>
                  <a:pt x="372" y="313"/>
                </a:cubicBezTo>
                <a:cubicBezTo>
                  <a:pt x="370" y="314"/>
                  <a:pt x="368" y="314"/>
                  <a:pt x="365" y="314"/>
                </a:cubicBezTo>
                <a:cubicBezTo>
                  <a:pt x="362" y="314"/>
                  <a:pt x="359" y="314"/>
                  <a:pt x="356" y="314"/>
                </a:cubicBezTo>
                <a:cubicBezTo>
                  <a:pt x="341" y="314"/>
                  <a:pt x="341" y="314"/>
                  <a:pt x="341" y="314"/>
                </a:cubicBezTo>
                <a:cubicBezTo>
                  <a:pt x="348" y="288"/>
                  <a:pt x="348" y="288"/>
                  <a:pt x="348" y="288"/>
                </a:cubicBezTo>
                <a:cubicBezTo>
                  <a:pt x="352" y="275"/>
                  <a:pt x="352" y="275"/>
                  <a:pt x="352" y="275"/>
                </a:cubicBezTo>
                <a:cubicBezTo>
                  <a:pt x="359" y="246"/>
                  <a:pt x="359" y="246"/>
                  <a:pt x="359" y="246"/>
                </a:cubicBezTo>
                <a:cubicBezTo>
                  <a:pt x="363" y="246"/>
                  <a:pt x="366" y="246"/>
                  <a:pt x="370" y="246"/>
                </a:cubicBezTo>
                <a:cubicBezTo>
                  <a:pt x="373" y="246"/>
                  <a:pt x="377" y="246"/>
                  <a:pt x="381" y="246"/>
                </a:cubicBezTo>
                <a:cubicBezTo>
                  <a:pt x="401" y="246"/>
                  <a:pt x="413" y="247"/>
                  <a:pt x="418" y="253"/>
                </a:cubicBezTo>
                <a:cubicBezTo>
                  <a:pt x="421" y="258"/>
                  <a:pt x="421" y="266"/>
                  <a:pt x="417" y="279"/>
                </a:cubicBezTo>
                <a:cubicBezTo>
                  <a:pt x="410" y="300"/>
                  <a:pt x="401" y="311"/>
                  <a:pt x="372" y="313"/>
                </a:cubicBezTo>
                <a:moveTo>
                  <a:pt x="307" y="219"/>
                </a:moveTo>
                <a:cubicBezTo>
                  <a:pt x="304" y="231"/>
                  <a:pt x="304" y="231"/>
                  <a:pt x="304" y="231"/>
                </a:cubicBezTo>
                <a:cubicBezTo>
                  <a:pt x="270" y="343"/>
                  <a:pt x="270" y="343"/>
                  <a:pt x="270" y="343"/>
                </a:cubicBezTo>
                <a:cubicBezTo>
                  <a:pt x="269" y="347"/>
                  <a:pt x="269" y="347"/>
                  <a:pt x="269" y="347"/>
                </a:cubicBezTo>
                <a:cubicBezTo>
                  <a:pt x="159" y="347"/>
                  <a:pt x="159" y="347"/>
                  <a:pt x="159" y="347"/>
                </a:cubicBezTo>
                <a:cubicBezTo>
                  <a:pt x="150" y="329"/>
                  <a:pt x="150" y="329"/>
                  <a:pt x="150" y="329"/>
                </a:cubicBezTo>
                <a:cubicBezTo>
                  <a:pt x="269" y="207"/>
                  <a:pt x="269" y="207"/>
                  <a:pt x="269" y="207"/>
                </a:cubicBezTo>
                <a:cubicBezTo>
                  <a:pt x="192" y="207"/>
                  <a:pt x="192" y="207"/>
                  <a:pt x="192" y="207"/>
                </a:cubicBezTo>
                <a:cubicBezTo>
                  <a:pt x="100" y="307"/>
                  <a:pt x="100" y="307"/>
                  <a:pt x="100" y="307"/>
                </a:cubicBezTo>
                <a:cubicBezTo>
                  <a:pt x="130" y="207"/>
                  <a:pt x="130" y="207"/>
                  <a:pt x="130" y="207"/>
                </a:cubicBezTo>
                <a:cubicBezTo>
                  <a:pt x="74" y="207"/>
                  <a:pt x="74" y="207"/>
                  <a:pt x="74" y="207"/>
                </a:cubicBezTo>
                <a:cubicBezTo>
                  <a:pt x="74" y="9"/>
                  <a:pt x="74" y="9"/>
                  <a:pt x="74" y="9"/>
                </a:cubicBezTo>
                <a:cubicBezTo>
                  <a:pt x="307" y="9"/>
                  <a:pt x="307" y="9"/>
                  <a:pt x="307" y="9"/>
                </a:cubicBezTo>
                <a:lnTo>
                  <a:pt x="307" y="219"/>
                </a:lnTo>
                <a:close/>
                <a:moveTo>
                  <a:pt x="882" y="0"/>
                </a:moveTo>
                <a:cubicBezTo>
                  <a:pt x="882" y="227"/>
                  <a:pt x="882" y="227"/>
                  <a:pt x="882" y="227"/>
                </a:cubicBezTo>
                <a:cubicBezTo>
                  <a:pt x="874" y="234"/>
                  <a:pt x="868" y="240"/>
                  <a:pt x="861" y="247"/>
                </a:cubicBezTo>
                <a:cubicBezTo>
                  <a:pt x="861" y="0"/>
                  <a:pt x="861" y="0"/>
                  <a:pt x="861" y="0"/>
                </a:cubicBezTo>
                <a:cubicBezTo>
                  <a:pt x="610" y="0"/>
                  <a:pt x="610" y="0"/>
                  <a:pt x="610" y="0"/>
                </a:cubicBezTo>
                <a:cubicBezTo>
                  <a:pt x="610" y="207"/>
                  <a:pt x="610" y="207"/>
                  <a:pt x="610" y="207"/>
                </a:cubicBezTo>
                <a:cubicBezTo>
                  <a:pt x="589" y="207"/>
                  <a:pt x="589" y="207"/>
                  <a:pt x="589" y="207"/>
                </a:cubicBezTo>
                <a:cubicBezTo>
                  <a:pt x="589" y="0"/>
                  <a:pt x="589" y="0"/>
                  <a:pt x="589" y="0"/>
                </a:cubicBezTo>
                <a:cubicBezTo>
                  <a:pt x="337" y="0"/>
                  <a:pt x="337" y="0"/>
                  <a:pt x="337" y="0"/>
                </a:cubicBezTo>
                <a:cubicBezTo>
                  <a:pt x="337" y="207"/>
                  <a:pt x="337" y="207"/>
                  <a:pt x="337" y="207"/>
                </a:cubicBezTo>
                <a:cubicBezTo>
                  <a:pt x="316" y="207"/>
                  <a:pt x="316" y="207"/>
                  <a:pt x="316" y="207"/>
                </a:cubicBezTo>
                <a:cubicBezTo>
                  <a:pt x="316" y="0"/>
                  <a:pt x="316" y="0"/>
                  <a:pt x="316" y="0"/>
                </a:cubicBezTo>
                <a:cubicBezTo>
                  <a:pt x="65" y="0"/>
                  <a:pt x="65" y="0"/>
                  <a:pt x="65" y="0"/>
                </a:cubicBezTo>
                <a:cubicBezTo>
                  <a:pt x="65" y="236"/>
                  <a:pt x="65" y="236"/>
                  <a:pt x="65" y="236"/>
                </a:cubicBezTo>
                <a:cubicBezTo>
                  <a:pt x="0" y="450"/>
                  <a:pt x="0" y="450"/>
                  <a:pt x="0" y="450"/>
                </a:cubicBezTo>
                <a:cubicBezTo>
                  <a:pt x="57" y="450"/>
                  <a:pt x="57" y="450"/>
                  <a:pt x="57" y="450"/>
                </a:cubicBezTo>
                <a:cubicBezTo>
                  <a:pt x="85" y="356"/>
                  <a:pt x="85" y="356"/>
                  <a:pt x="85" y="356"/>
                </a:cubicBezTo>
                <a:cubicBezTo>
                  <a:pt x="93" y="356"/>
                  <a:pt x="93" y="356"/>
                  <a:pt x="93" y="356"/>
                </a:cubicBezTo>
                <a:cubicBezTo>
                  <a:pt x="140" y="450"/>
                  <a:pt x="140" y="450"/>
                  <a:pt x="140" y="450"/>
                </a:cubicBezTo>
                <a:cubicBezTo>
                  <a:pt x="208" y="450"/>
                  <a:pt x="208" y="450"/>
                  <a:pt x="208" y="450"/>
                </a:cubicBezTo>
                <a:cubicBezTo>
                  <a:pt x="163" y="356"/>
                  <a:pt x="163" y="356"/>
                  <a:pt x="163" y="356"/>
                </a:cubicBezTo>
                <a:cubicBezTo>
                  <a:pt x="266" y="356"/>
                  <a:pt x="266" y="356"/>
                  <a:pt x="266" y="356"/>
                </a:cubicBezTo>
                <a:cubicBezTo>
                  <a:pt x="237" y="450"/>
                  <a:pt x="237" y="450"/>
                  <a:pt x="237" y="450"/>
                </a:cubicBezTo>
                <a:cubicBezTo>
                  <a:pt x="299" y="450"/>
                  <a:pt x="299" y="450"/>
                  <a:pt x="299" y="450"/>
                </a:cubicBezTo>
                <a:cubicBezTo>
                  <a:pt x="327" y="356"/>
                  <a:pt x="327" y="356"/>
                  <a:pt x="327" y="356"/>
                </a:cubicBezTo>
                <a:cubicBezTo>
                  <a:pt x="341" y="356"/>
                  <a:pt x="341" y="356"/>
                  <a:pt x="341" y="356"/>
                </a:cubicBezTo>
                <a:cubicBezTo>
                  <a:pt x="341" y="356"/>
                  <a:pt x="341" y="356"/>
                  <a:pt x="341" y="356"/>
                </a:cubicBezTo>
                <a:cubicBezTo>
                  <a:pt x="360" y="356"/>
                  <a:pt x="360" y="356"/>
                  <a:pt x="360" y="356"/>
                </a:cubicBezTo>
                <a:cubicBezTo>
                  <a:pt x="362" y="356"/>
                  <a:pt x="362" y="356"/>
                  <a:pt x="362" y="356"/>
                </a:cubicBezTo>
                <a:cubicBezTo>
                  <a:pt x="478" y="356"/>
                  <a:pt x="478" y="356"/>
                  <a:pt x="478" y="356"/>
                </a:cubicBezTo>
                <a:cubicBezTo>
                  <a:pt x="451" y="450"/>
                  <a:pt x="451" y="450"/>
                  <a:pt x="451" y="450"/>
                </a:cubicBezTo>
                <a:cubicBezTo>
                  <a:pt x="513" y="450"/>
                  <a:pt x="513" y="450"/>
                  <a:pt x="513" y="450"/>
                </a:cubicBezTo>
                <a:cubicBezTo>
                  <a:pt x="540" y="356"/>
                  <a:pt x="540" y="356"/>
                  <a:pt x="540" y="356"/>
                </a:cubicBezTo>
                <a:cubicBezTo>
                  <a:pt x="568" y="356"/>
                  <a:pt x="568" y="356"/>
                  <a:pt x="568" y="356"/>
                </a:cubicBezTo>
                <a:cubicBezTo>
                  <a:pt x="569" y="450"/>
                  <a:pt x="569" y="450"/>
                  <a:pt x="569" y="450"/>
                </a:cubicBezTo>
                <a:cubicBezTo>
                  <a:pt x="621" y="450"/>
                  <a:pt x="621" y="450"/>
                  <a:pt x="621" y="450"/>
                </a:cubicBezTo>
                <a:cubicBezTo>
                  <a:pt x="681" y="356"/>
                  <a:pt x="681" y="356"/>
                  <a:pt x="681" y="356"/>
                </a:cubicBezTo>
                <a:cubicBezTo>
                  <a:pt x="720" y="356"/>
                  <a:pt x="720" y="356"/>
                  <a:pt x="720" y="356"/>
                </a:cubicBezTo>
                <a:cubicBezTo>
                  <a:pt x="700" y="450"/>
                  <a:pt x="700" y="450"/>
                  <a:pt x="700" y="450"/>
                </a:cubicBezTo>
                <a:cubicBezTo>
                  <a:pt x="761" y="450"/>
                  <a:pt x="761" y="450"/>
                  <a:pt x="761" y="450"/>
                </a:cubicBezTo>
                <a:cubicBezTo>
                  <a:pt x="781" y="356"/>
                  <a:pt x="781" y="356"/>
                  <a:pt x="781" y="356"/>
                </a:cubicBezTo>
                <a:cubicBezTo>
                  <a:pt x="816" y="356"/>
                  <a:pt x="816" y="356"/>
                  <a:pt x="816" y="356"/>
                </a:cubicBezTo>
                <a:cubicBezTo>
                  <a:pt x="815" y="385"/>
                  <a:pt x="822" y="411"/>
                  <a:pt x="842" y="429"/>
                </a:cubicBezTo>
                <a:cubicBezTo>
                  <a:pt x="866" y="451"/>
                  <a:pt x="902" y="455"/>
                  <a:pt x="929" y="455"/>
                </a:cubicBezTo>
                <a:cubicBezTo>
                  <a:pt x="966" y="455"/>
                  <a:pt x="1004" y="450"/>
                  <a:pt x="1043" y="441"/>
                </a:cubicBezTo>
                <a:cubicBezTo>
                  <a:pt x="1064" y="356"/>
                  <a:pt x="1064" y="356"/>
                  <a:pt x="1064" y="356"/>
                </a:cubicBezTo>
                <a:cubicBezTo>
                  <a:pt x="1134" y="356"/>
                  <a:pt x="1134" y="356"/>
                  <a:pt x="1134" y="356"/>
                </a:cubicBezTo>
                <a:cubicBezTo>
                  <a:pt x="1134" y="0"/>
                  <a:pt x="1134" y="0"/>
                  <a:pt x="1134" y="0"/>
                </a:cubicBezTo>
                <a:lnTo>
                  <a:pt x="882"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defTabSz="488582"/>
            <a:endParaRPr lang="en-CA" sz="1867" dirty="0">
              <a:solidFill>
                <a:srgbClr val="000000"/>
              </a:solidFill>
            </a:endParaRPr>
          </a:p>
        </p:txBody>
      </p:sp>
      <p:sp>
        <p:nvSpPr>
          <p:cNvPr id="13" name="Rectangle 5"/>
          <p:cNvSpPr>
            <a:spLocks noChangeArrowheads="1"/>
          </p:cNvSpPr>
          <p:nvPr userDrawn="1"/>
        </p:nvSpPr>
        <p:spPr bwMode="gray">
          <a:xfrm>
            <a:off x="10766737" y="6348476"/>
            <a:ext cx="42937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p>
            <a:pPr algn="r" defTabSz="410291">
              <a:spcBef>
                <a:spcPct val="0"/>
              </a:spcBef>
            </a:pPr>
            <a:fld id="{265D3556-F56D-4236-A1D8-043C81B3544D}" type="slidenum">
              <a:rPr lang="en-CA" sz="1100">
                <a:solidFill>
                  <a:srgbClr val="00338D"/>
                </a:solidFill>
                <a:latin typeface="Univers for KPMG Light" panose="020B0403020202020204" pitchFamily="34" charset="0"/>
                <a:cs typeface="Arial" panose="020B0604020202020204" pitchFamily="34" charset="0"/>
              </a:rPr>
              <a:pPr algn="r" defTabSz="410291">
                <a:spcBef>
                  <a:spcPct val="0"/>
                </a:spcBef>
              </a:pPr>
              <a:t>‹#›</a:t>
            </a:fld>
            <a:endParaRPr lang="en-CA" sz="1100" dirty="0">
              <a:solidFill>
                <a:srgbClr val="00338D"/>
              </a:solidFill>
              <a:latin typeface="Univers for KPMG Light" panose="020B0403020202020204" pitchFamily="34" charset="0"/>
              <a:cs typeface="Arial" panose="020B0604020202020204" pitchFamily="34" charset="0"/>
            </a:endParaRPr>
          </a:p>
        </p:txBody>
      </p:sp>
    </p:spTree>
    <p:extLst>
      <p:ext uri="{BB962C8B-B14F-4D97-AF65-F5344CB8AC3E}">
        <p14:creationId xmlns:p14="http://schemas.microsoft.com/office/powerpoint/2010/main" val="358718956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Lst>
  <p:timing>
    <p:tnLst>
      <p:par>
        <p:cTn id="1" dur="indefinite" restart="never" nodeType="tmRoot"/>
      </p:par>
    </p:tnLst>
  </p:timing>
  <p:hf hdr="0" ftr="0" dt="0"/>
  <p:txStyles>
    <p:titleStyle>
      <a:lvl1pPr algn="l" defTabSz="609585" rtl="0" eaLnBrk="1" latinLnBrk="0" hangingPunct="1">
        <a:lnSpc>
          <a:spcPct val="85000"/>
        </a:lnSpc>
        <a:spcBef>
          <a:spcPct val="0"/>
        </a:spcBef>
        <a:buNone/>
        <a:defRPr sz="5400" kern="1200">
          <a:solidFill>
            <a:schemeClr val="tx2"/>
          </a:solidFill>
          <a:latin typeface="KPMG Extralight"/>
          <a:ea typeface="+mj-ea"/>
          <a:cs typeface="KPMG Extralight"/>
        </a:defRPr>
      </a:lvl1pPr>
    </p:titleStyle>
    <p:bodyStyle>
      <a:lvl1pPr marL="0" indent="0" algn="l" defTabSz="609585" rtl="0" eaLnBrk="1" latinLnBrk="0" hangingPunct="1">
        <a:spcBef>
          <a:spcPts val="900"/>
        </a:spcBef>
        <a:spcAft>
          <a:spcPts val="0"/>
        </a:spcAft>
        <a:buFont typeface="Arial"/>
        <a:buNone/>
        <a:defRPr sz="1800" b="1" i="0" kern="1200">
          <a:solidFill>
            <a:schemeClr val="tx2"/>
          </a:solidFill>
          <a:latin typeface="Univers for KPMG"/>
          <a:ea typeface="+mn-ea"/>
          <a:cs typeface="Univers for KPMG"/>
        </a:defRPr>
      </a:lvl1pPr>
      <a:lvl2pPr marL="0" indent="0" algn="l" defTabSz="609585" rtl="0" eaLnBrk="1" latinLnBrk="0" hangingPunct="1">
        <a:spcBef>
          <a:spcPts val="600"/>
        </a:spcBef>
        <a:spcAft>
          <a:spcPts val="0"/>
        </a:spcAft>
        <a:buFont typeface="Arial"/>
        <a:buNone/>
        <a:defRPr sz="1600" kern="1200">
          <a:solidFill>
            <a:schemeClr val="tx2"/>
          </a:solidFill>
          <a:latin typeface="+mn-lt"/>
          <a:ea typeface="+mn-ea"/>
          <a:cs typeface="Univers for KPMG Light" panose="020B0403020202020204" pitchFamily="34" charset="0"/>
        </a:defRPr>
      </a:lvl2pPr>
      <a:lvl3pPr marL="270000" indent="-270000" algn="l" defTabSz="609585" rtl="0" eaLnBrk="1" latinLnBrk="0" hangingPunct="1">
        <a:spcBef>
          <a:spcPts val="300"/>
        </a:spcBef>
        <a:spcAft>
          <a:spcPts val="0"/>
        </a:spcAft>
        <a:buFont typeface="Univers for KPMG Light" panose="020B0403020202020204" pitchFamily="34" charset="0"/>
        <a:buChar char="—"/>
        <a:defRPr sz="1400" kern="1200">
          <a:solidFill>
            <a:schemeClr val="tx2"/>
          </a:solidFill>
          <a:latin typeface="+mn-lt"/>
          <a:ea typeface="+mn-ea"/>
          <a:cs typeface="Univers for KPMG Light" panose="020B0403020202020204" pitchFamily="34" charset="0"/>
        </a:defRPr>
      </a:lvl3pPr>
      <a:lvl4pPr marL="719138" indent="-271463" algn="l" defTabSz="609585" rtl="0" eaLnBrk="1" latinLnBrk="0" hangingPunct="1">
        <a:spcBef>
          <a:spcPts val="300"/>
        </a:spcBef>
        <a:spcAft>
          <a:spcPts val="0"/>
        </a:spcAft>
        <a:buClr>
          <a:schemeClr val="tx2"/>
        </a:buClr>
        <a:buFont typeface="Univers for KPMG Light" panose="020B0403020202020204" pitchFamily="34" charset="0"/>
        <a:buChar char="—"/>
        <a:defRPr sz="1200" kern="1200">
          <a:solidFill>
            <a:schemeClr val="tx2"/>
          </a:solidFill>
          <a:latin typeface="+mn-lt"/>
          <a:ea typeface="+mn-ea"/>
          <a:cs typeface="Univers for KPMG Light" panose="020B0403020202020204" pitchFamily="34" charset="0"/>
        </a:defRPr>
      </a:lvl4pPr>
      <a:lvl5pPr marL="1080000" indent="-270000" algn="l" defTabSz="609585" rtl="0" eaLnBrk="1" latinLnBrk="0" hangingPunct="1">
        <a:spcBef>
          <a:spcPts val="300"/>
        </a:spcBef>
        <a:spcAft>
          <a:spcPts val="0"/>
        </a:spcAft>
        <a:buClr>
          <a:schemeClr val="tx2"/>
        </a:buClr>
        <a:buFont typeface="Univers for KPMG Light" panose="020B0403020202020204" pitchFamily="34" charset="0"/>
        <a:buChar char="—"/>
        <a:defRPr lang="en-CA" sz="1100" b="0" i="0" kern="1200" dirty="0">
          <a:solidFill>
            <a:schemeClr val="tx2"/>
          </a:solidFill>
          <a:latin typeface="+mn-lt"/>
          <a:ea typeface="+mn-ea"/>
          <a:cs typeface="Univers for KPMG Light" panose="020B0403020202020204" pitchFamily="34" charset="0"/>
        </a:defRPr>
      </a:lvl5pPr>
      <a:lvl6pPr marL="1341438" indent="-309600" algn="l" defTabSz="609585" rtl="0" eaLnBrk="1" latinLnBrk="0" hangingPunct="1">
        <a:spcBef>
          <a:spcPts val="0"/>
        </a:spcBef>
        <a:spcAft>
          <a:spcPts val="600"/>
        </a:spcAft>
        <a:buFont typeface="Univers for KPMG Light" panose="020B0403020202020204" pitchFamily="34" charset="0"/>
        <a:buChar char="-"/>
        <a:defRPr lang="en-US" sz="1600" kern="1200" dirty="0" smtClean="0">
          <a:solidFill>
            <a:schemeClr val="tx2"/>
          </a:solidFill>
          <a:latin typeface="Univers for KPMG Light" panose="020B0403020202020204" pitchFamily="34" charset="0"/>
          <a:ea typeface="+mn-ea"/>
          <a:cs typeface="+mn-cs"/>
        </a:defRPr>
      </a:lvl6pPr>
      <a:lvl7pPr marL="1706563" indent="-309600" algn="l" defTabSz="609585" rtl="0" eaLnBrk="1" latinLnBrk="0" hangingPunct="1">
        <a:spcBef>
          <a:spcPts val="0"/>
        </a:spcBef>
        <a:spcAft>
          <a:spcPts val="600"/>
        </a:spcAft>
        <a:buFont typeface="Univers for KPMG Light" panose="020B0403020202020204" pitchFamily="34" charset="0"/>
        <a:buChar char="—"/>
        <a:defRPr lang="en-US" sz="1600" b="0" i="0" kern="1200" dirty="0" smtClean="0">
          <a:solidFill>
            <a:schemeClr val="tx2"/>
          </a:solidFill>
          <a:latin typeface="Univers for KPMG Light" panose="020B0403020202020204" pitchFamily="34" charset="0"/>
          <a:ea typeface="+mn-ea"/>
          <a:cs typeface="+mn-cs"/>
        </a:defRPr>
      </a:lvl7pPr>
      <a:lvl8pPr marL="2063750" indent="-248400" algn="l" defTabSz="609585" rtl="0" eaLnBrk="1" latinLnBrk="0" hangingPunct="1">
        <a:spcBef>
          <a:spcPts val="0"/>
        </a:spcBef>
        <a:spcAft>
          <a:spcPts val="600"/>
        </a:spcAft>
        <a:buFont typeface="Univers for KPMG Light" panose="020B0403020202020204" pitchFamily="34" charset="0"/>
        <a:buChar char="-"/>
        <a:defRPr lang="en-US" sz="1600" kern="1200" dirty="0" smtClean="0">
          <a:solidFill>
            <a:schemeClr val="tx2"/>
          </a:solidFill>
          <a:latin typeface="Univers for KPMG Light" panose="020B0403020202020204" pitchFamily="34" charset="0"/>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ndard forms of analysis (aka Workbooks)</a:t>
            </a:r>
            <a:endParaRPr lang="en-US" dirty="0"/>
          </a:p>
        </p:txBody>
      </p:sp>
      <p:sp>
        <p:nvSpPr>
          <p:cNvPr id="3" name="Text Placeholder 2"/>
          <p:cNvSpPr>
            <a:spLocks noGrp="1"/>
          </p:cNvSpPr>
          <p:nvPr>
            <p:ph type="body" sz="quarter" idx="12"/>
          </p:nvPr>
        </p:nvSpPr>
        <p:spPr/>
        <p:txBody>
          <a:bodyPr/>
          <a:lstStyle/>
          <a:p>
            <a:r>
              <a:rPr lang="en-US" dirty="0" smtClean="0"/>
              <a:t>Source for Deal Advisory</a:t>
            </a:r>
            <a:endParaRPr lang="en-US" dirty="0"/>
          </a:p>
        </p:txBody>
      </p:sp>
      <p:sp>
        <p:nvSpPr>
          <p:cNvPr id="104" name="Rectangle 103"/>
          <p:cNvSpPr/>
          <p:nvPr/>
        </p:nvSpPr>
        <p:spPr>
          <a:xfrm>
            <a:off x="1066800" y="1676400"/>
            <a:ext cx="7802880" cy="4190017"/>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91440" rIns="54610" bIns="54610" rtlCol="0" anchor="t" anchorCtr="0"/>
          <a:lstStyle/>
          <a:p>
            <a:pPr marL="112713" lvl="2" indent="-112713" defTabSz="488582">
              <a:lnSpc>
                <a:spcPts val="1100"/>
              </a:lnSpc>
              <a:spcAft>
                <a:spcPts val="600"/>
              </a:spcAft>
              <a:buFont typeface="Arial" panose="020B0604020202020204" pitchFamily="34" charset="0"/>
              <a:buChar char="–"/>
            </a:pPr>
            <a:endParaRPr lang="en-US" sz="1000" dirty="0">
              <a:solidFill>
                <a:srgbClr val="00338D"/>
              </a:solidFill>
            </a:endParaRPr>
          </a:p>
        </p:txBody>
      </p:sp>
      <p:grpSp>
        <p:nvGrpSpPr>
          <p:cNvPr id="105" name="Group 104"/>
          <p:cNvGrpSpPr/>
          <p:nvPr/>
        </p:nvGrpSpPr>
        <p:grpSpPr>
          <a:xfrm>
            <a:off x="3215661" y="2261984"/>
            <a:ext cx="2770177" cy="2707176"/>
            <a:chOff x="2419749" y="2112212"/>
            <a:chExt cx="3744416" cy="3744416"/>
          </a:xfrm>
        </p:grpSpPr>
        <p:sp>
          <p:nvSpPr>
            <p:cNvPr id="106" name="Freeform 59"/>
            <p:cNvSpPr>
              <a:spLocks/>
            </p:cNvSpPr>
            <p:nvPr/>
          </p:nvSpPr>
          <p:spPr bwMode="gray">
            <a:xfrm>
              <a:off x="2649811" y="2112212"/>
              <a:ext cx="1598640" cy="1501306"/>
            </a:xfrm>
            <a:custGeom>
              <a:avLst/>
              <a:gdLst>
                <a:gd name="T0" fmla="*/ 2147483647 w 250"/>
                <a:gd name="T1" fmla="*/ 2147483647 h 235"/>
                <a:gd name="T2" fmla="*/ 2147483647 w 250"/>
                <a:gd name="T3" fmla="*/ 2147483647 h 235"/>
                <a:gd name="T4" fmla="*/ 2147483647 w 250"/>
                <a:gd name="T5" fmla="*/ 0 h 235"/>
                <a:gd name="T6" fmla="*/ 0 w 250"/>
                <a:gd name="T7" fmla="*/ 2147483647 h 235"/>
                <a:gd name="T8" fmla="*/ 2147483647 w 250"/>
                <a:gd name="T9" fmla="*/ 2147483647 h 235"/>
                <a:gd name="T10" fmla="*/ 2147483647 w 250"/>
                <a:gd name="T11" fmla="*/ 2147483647 h 235"/>
                <a:gd name="T12" fmla="*/ 0 60000 65536"/>
                <a:gd name="T13" fmla="*/ 0 60000 65536"/>
                <a:gd name="T14" fmla="*/ 0 60000 65536"/>
                <a:gd name="T15" fmla="*/ 0 60000 65536"/>
                <a:gd name="T16" fmla="*/ 0 60000 65536"/>
                <a:gd name="T17" fmla="*/ 0 60000 65536"/>
                <a:gd name="T18" fmla="*/ 0 w 250"/>
                <a:gd name="T19" fmla="*/ 0 h 235"/>
                <a:gd name="T20" fmla="*/ 250 w 250"/>
                <a:gd name="T21" fmla="*/ 235 h 235"/>
              </a:gdLst>
              <a:ahLst/>
              <a:cxnLst>
                <a:cxn ang="T12">
                  <a:pos x="T0" y="T1"/>
                </a:cxn>
                <a:cxn ang="T13">
                  <a:pos x="T2" y="T3"/>
                </a:cxn>
                <a:cxn ang="T14">
                  <a:pos x="T4" y="T5"/>
                </a:cxn>
                <a:cxn ang="T15">
                  <a:pos x="T6" y="T7"/>
                </a:cxn>
                <a:cxn ang="T16">
                  <a:pos x="T8" y="T9"/>
                </a:cxn>
                <a:cxn ang="T17">
                  <a:pos x="T10" y="T11"/>
                </a:cxn>
              </a:cxnLst>
              <a:rect l="T18" t="T19" r="T20" b="T21"/>
              <a:pathLst>
                <a:path w="250" h="235">
                  <a:moveTo>
                    <a:pt x="228" y="184"/>
                  </a:moveTo>
                  <a:cubicBezTo>
                    <a:pt x="235" y="182"/>
                    <a:pt x="243" y="181"/>
                    <a:pt x="250" y="181"/>
                  </a:cubicBezTo>
                  <a:cubicBezTo>
                    <a:pt x="250" y="0"/>
                    <a:pt x="250" y="0"/>
                    <a:pt x="250" y="0"/>
                  </a:cubicBezTo>
                  <a:cubicBezTo>
                    <a:pt x="142" y="3"/>
                    <a:pt x="48" y="64"/>
                    <a:pt x="0" y="153"/>
                  </a:cubicBezTo>
                  <a:cubicBezTo>
                    <a:pt x="160" y="235"/>
                    <a:pt x="160" y="235"/>
                    <a:pt x="160" y="235"/>
                  </a:cubicBezTo>
                  <a:cubicBezTo>
                    <a:pt x="175" y="210"/>
                    <a:pt x="199" y="192"/>
                    <a:pt x="228" y="184"/>
                  </a:cubicBezTo>
                  <a:close/>
                </a:path>
              </a:pathLst>
            </a:custGeom>
            <a:solidFill>
              <a:srgbClr val="470A68"/>
            </a:solidFill>
            <a:ln w="3175">
              <a:solidFill>
                <a:srgbClr val="470A68"/>
              </a:solidFill>
              <a:round/>
              <a:headEnd/>
              <a:tailEnd/>
            </a:ln>
          </p:spPr>
          <p:txBody>
            <a:bodyPr rIns="36000"/>
            <a:lstStyle/>
            <a:p>
              <a:pPr defTabSz="488582"/>
              <a:endParaRPr lang="en-US" sz="1000" dirty="0">
                <a:solidFill>
                  <a:prstClr val="white"/>
                </a:solidFill>
                <a:latin typeface="Arial" panose="020B0604020202020204" pitchFamily="34" charset="0"/>
                <a:cs typeface="Arial" panose="020B0604020202020204" pitchFamily="34" charset="0"/>
              </a:endParaRPr>
            </a:p>
          </p:txBody>
        </p:sp>
        <p:sp>
          <p:nvSpPr>
            <p:cNvPr id="107" name="Freeform 60"/>
            <p:cNvSpPr>
              <a:spLocks/>
            </p:cNvSpPr>
            <p:nvPr/>
          </p:nvSpPr>
          <p:spPr bwMode="gray">
            <a:xfrm>
              <a:off x="4338412" y="2112212"/>
              <a:ext cx="1716621" cy="1604539"/>
            </a:xfrm>
            <a:custGeom>
              <a:avLst/>
              <a:gdLst>
                <a:gd name="T0" fmla="*/ 2147483647 w 269"/>
                <a:gd name="T1" fmla="*/ 2147483647 h 251"/>
                <a:gd name="T2" fmla="*/ 2147483647 w 269"/>
                <a:gd name="T3" fmla="*/ 2147483647 h 251"/>
                <a:gd name="T4" fmla="*/ 0 w 269"/>
                <a:gd name="T5" fmla="*/ 0 h 251"/>
                <a:gd name="T6" fmla="*/ 0 w 269"/>
                <a:gd name="T7" fmla="*/ 2147483647 h 251"/>
                <a:gd name="T8" fmla="*/ 2147483647 w 269"/>
                <a:gd name="T9" fmla="*/ 2147483647 h 251"/>
                <a:gd name="T10" fmla="*/ 2147483647 w 269"/>
                <a:gd name="T11" fmla="*/ 2147483647 h 251"/>
                <a:gd name="T12" fmla="*/ 0 60000 65536"/>
                <a:gd name="T13" fmla="*/ 0 60000 65536"/>
                <a:gd name="T14" fmla="*/ 0 60000 65536"/>
                <a:gd name="T15" fmla="*/ 0 60000 65536"/>
                <a:gd name="T16" fmla="*/ 0 60000 65536"/>
                <a:gd name="T17" fmla="*/ 0 60000 65536"/>
                <a:gd name="T18" fmla="*/ 0 w 269"/>
                <a:gd name="T19" fmla="*/ 0 h 251"/>
                <a:gd name="T20" fmla="*/ 269 w 269"/>
                <a:gd name="T21" fmla="*/ 251 h 251"/>
              </a:gdLst>
              <a:ahLst/>
              <a:cxnLst>
                <a:cxn ang="T12">
                  <a:pos x="T0" y="T1"/>
                </a:cxn>
                <a:cxn ang="T13">
                  <a:pos x="T2" y="T3"/>
                </a:cxn>
                <a:cxn ang="T14">
                  <a:pos x="T4" y="T5"/>
                </a:cxn>
                <a:cxn ang="T15">
                  <a:pos x="T6" y="T7"/>
                </a:cxn>
                <a:cxn ang="T16">
                  <a:pos x="T8" y="T9"/>
                </a:cxn>
                <a:cxn ang="T17">
                  <a:pos x="T10" y="T11"/>
                </a:cxn>
              </a:cxnLst>
              <a:rect l="T18" t="T19" r="T20" b="T21"/>
              <a:pathLst>
                <a:path w="269" h="251">
                  <a:moveTo>
                    <a:pt x="98" y="251"/>
                  </a:moveTo>
                  <a:cubicBezTo>
                    <a:pt x="269" y="196"/>
                    <a:pt x="269" y="196"/>
                    <a:pt x="269" y="196"/>
                  </a:cubicBezTo>
                  <a:cubicBezTo>
                    <a:pt x="230" y="84"/>
                    <a:pt x="125" y="3"/>
                    <a:pt x="0" y="0"/>
                  </a:cubicBezTo>
                  <a:cubicBezTo>
                    <a:pt x="0" y="181"/>
                    <a:pt x="0" y="181"/>
                    <a:pt x="0" y="181"/>
                  </a:cubicBezTo>
                  <a:cubicBezTo>
                    <a:pt x="17" y="182"/>
                    <a:pt x="34" y="187"/>
                    <a:pt x="49" y="196"/>
                  </a:cubicBezTo>
                  <a:cubicBezTo>
                    <a:pt x="72" y="208"/>
                    <a:pt x="88" y="228"/>
                    <a:pt x="98" y="251"/>
                  </a:cubicBezTo>
                  <a:close/>
                </a:path>
              </a:pathLst>
            </a:custGeom>
            <a:solidFill>
              <a:srgbClr val="00338D"/>
            </a:solidFill>
            <a:ln w="3175">
              <a:solidFill>
                <a:srgbClr val="00338D"/>
              </a:solidFill>
              <a:round/>
              <a:headEnd/>
              <a:tailEnd/>
            </a:ln>
          </p:spPr>
          <p:txBody>
            <a:bodyPr/>
            <a:lstStyle/>
            <a:p>
              <a:pPr defTabSz="488582"/>
              <a:endParaRPr lang="en-US" sz="1000" dirty="0">
                <a:solidFill>
                  <a:prstClr val="white"/>
                </a:solidFill>
                <a:latin typeface="Arial" panose="020B0604020202020204" pitchFamily="34" charset="0"/>
                <a:cs typeface="Arial" panose="020B0604020202020204" pitchFamily="34" charset="0"/>
              </a:endParaRPr>
            </a:p>
          </p:txBody>
        </p:sp>
        <p:sp>
          <p:nvSpPr>
            <p:cNvPr id="108" name="Freeform 61"/>
            <p:cNvSpPr>
              <a:spLocks/>
            </p:cNvSpPr>
            <p:nvPr/>
          </p:nvSpPr>
          <p:spPr bwMode="gray">
            <a:xfrm>
              <a:off x="3230867" y="4591284"/>
              <a:ext cx="2129553" cy="1265344"/>
            </a:xfrm>
            <a:custGeom>
              <a:avLst/>
              <a:gdLst>
                <a:gd name="T0" fmla="*/ 2147483647 w 333"/>
                <a:gd name="T1" fmla="*/ 2147483647 h 198"/>
                <a:gd name="T2" fmla="*/ 2147483647 w 333"/>
                <a:gd name="T3" fmla="*/ 0 h 198"/>
                <a:gd name="T4" fmla="*/ 0 w 333"/>
                <a:gd name="T5" fmla="*/ 2147483647 h 198"/>
                <a:gd name="T6" fmla="*/ 2147483647 w 333"/>
                <a:gd name="T7" fmla="*/ 2147483647 h 198"/>
                <a:gd name="T8" fmla="*/ 2147483647 w 333"/>
                <a:gd name="T9" fmla="*/ 2147483647 h 198"/>
                <a:gd name="T10" fmla="*/ 2147483647 w 333"/>
                <a:gd name="T11" fmla="*/ 0 h 198"/>
                <a:gd name="T12" fmla="*/ 2147483647 w 333"/>
                <a:gd name="T13" fmla="*/ 2147483647 h 198"/>
                <a:gd name="T14" fmla="*/ 2147483647 w 333"/>
                <a:gd name="T15" fmla="*/ 2147483647 h 198"/>
                <a:gd name="T16" fmla="*/ 0 60000 65536"/>
                <a:gd name="T17" fmla="*/ 0 60000 65536"/>
                <a:gd name="T18" fmla="*/ 0 60000 65536"/>
                <a:gd name="T19" fmla="*/ 0 60000 65536"/>
                <a:gd name="T20" fmla="*/ 0 60000 65536"/>
                <a:gd name="T21" fmla="*/ 0 60000 65536"/>
                <a:gd name="T22" fmla="*/ 0 60000 65536"/>
                <a:gd name="T23" fmla="*/ 0 60000 65536"/>
                <a:gd name="T24" fmla="*/ 0 w 333"/>
                <a:gd name="T25" fmla="*/ 0 h 198"/>
                <a:gd name="T26" fmla="*/ 333 w 333"/>
                <a:gd name="T27" fmla="*/ 198 h 1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3" h="198">
                  <a:moveTo>
                    <a:pt x="110" y="3"/>
                  </a:moveTo>
                  <a:cubicBezTo>
                    <a:pt x="108" y="2"/>
                    <a:pt x="107" y="1"/>
                    <a:pt x="106" y="0"/>
                  </a:cubicBezTo>
                  <a:cubicBezTo>
                    <a:pt x="0" y="146"/>
                    <a:pt x="0" y="146"/>
                    <a:pt x="0" y="146"/>
                  </a:cubicBezTo>
                  <a:cubicBezTo>
                    <a:pt x="47" y="179"/>
                    <a:pt x="104" y="198"/>
                    <a:pt x="166" y="198"/>
                  </a:cubicBezTo>
                  <a:cubicBezTo>
                    <a:pt x="228" y="198"/>
                    <a:pt x="285" y="179"/>
                    <a:pt x="333" y="146"/>
                  </a:cubicBezTo>
                  <a:cubicBezTo>
                    <a:pt x="227" y="0"/>
                    <a:pt x="227" y="0"/>
                    <a:pt x="227" y="0"/>
                  </a:cubicBezTo>
                  <a:cubicBezTo>
                    <a:pt x="217" y="6"/>
                    <a:pt x="207" y="11"/>
                    <a:pt x="195" y="14"/>
                  </a:cubicBezTo>
                  <a:cubicBezTo>
                    <a:pt x="166" y="22"/>
                    <a:pt x="136" y="18"/>
                    <a:pt x="110" y="3"/>
                  </a:cubicBezTo>
                  <a:close/>
                </a:path>
              </a:pathLst>
            </a:custGeom>
            <a:solidFill>
              <a:srgbClr val="0091DA"/>
            </a:solidFill>
            <a:ln w="3175">
              <a:solidFill>
                <a:srgbClr val="0091DA"/>
              </a:solidFill>
              <a:round/>
              <a:headEnd/>
              <a:tailEnd/>
            </a:ln>
          </p:spPr>
          <p:txBody>
            <a:bodyPr/>
            <a:lstStyle/>
            <a:p>
              <a:pPr defTabSz="488582"/>
              <a:endParaRPr lang="en-US" sz="1000" dirty="0">
                <a:solidFill>
                  <a:prstClr val="white"/>
                </a:solidFill>
                <a:latin typeface="Arial" panose="020B0604020202020204" pitchFamily="34" charset="0"/>
                <a:cs typeface="Arial" panose="020B0604020202020204" pitchFamily="34" charset="0"/>
              </a:endParaRPr>
            </a:p>
          </p:txBody>
        </p:sp>
        <p:sp>
          <p:nvSpPr>
            <p:cNvPr id="109" name="Freeform 62"/>
            <p:cNvSpPr>
              <a:spLocks/>
            </p:cNvSpPr>
            <p:nvPr/>
          </p:nvSpPr>
          <p:spPr bwMode="gray">
            <a:xfrm>
              <a:off x="2419749" y="3172565"/>
              <a:ext cx="1414295" cy="2300626"/>
            </a:xfrm>
            <a:custGeom>
              <a:avLst/>
              <a:gdLst>
                <a:gd name="T0" fmla="*/ 2147483647 w 221"/>
                <a:gd name="T1" fmla="*/ 2147483647 h 360"/>
                <a:gd name="T2" fmla="*/ 2147483647 w 221"/>
                <a:gd name="T3" fmla="*/ 0 h 360"/>
                <a:gd name="T4" fmla="*/ 0 w 221"/>
                <a:gd name="T5" fmla="*/ 2147483647 h 360"/>
                <a:gd name="T6" fmla="*/ 2147483647 w 221"/>
                <a:gd name="T7" fmla="*/ 2147483647 h 360"/>
                <a:gd name="T8" fmla="*/ 2147483647 w 221"/>
                <a:gd name="T9" fmla="*/ 2147483647 h 360"/>
                <a:gd name="T10" fmla="*/ 2147483647 w 221"/>
                <a:gd name="T11" fmla="*/ 2147483647 h 360"/>
                <a:gd name="T12" fmla="*/ 0 60000 65536"/>
                <a:gd name="T13" fmla="*/ 0 60000 65536"/>
                <a:gd name="T14" fmla="*/ 0 60000 65536"/>
                <a:gd name="T15" fmla="*/ 0 60000 65536"/>
                <a:gd name="T16" fmla="*/ 0 60000 65536"/>
                <a:gd name="T17" fmla="*/ 0 60000 65536"/>
                <a:gd name="T18" fmla="*/ 0 w 221"/>
                <a:gd name="T19" fmla="*/ 0 h 360"/>
                <a:gd name="T20" fmla="*/ 221 w 221"/>
                <a:gd name="T21" fmla="*/ 360 h 360"/>
              </a:gdLst>
              <a:ahLst/>
              <a:cxnLst>
                <a:cxn ang="T12">
                  <a:pos x="T0" y="T1"/>
                </a:cxn>
                <a:cxn ang="T13">
                  <a:pos x="T2" y="T3"/>
                </a:cxn>
                <a:cxn ang="T14">
                  <a:pos x="T4" y="T5"/>
                </a:cxn>
                <a:cxn ang="T15">
                  <a:pos x="T6" y="T7"/>
                </a:cxn>
                <a:cxn ang="T16">
                  <a:pos x="T8" y="T9"/>
                </a:cxn>
                <a:cxn ang="T17">
                  <a:pos x="T10" y="T11"/>
                </a:cxn>
              </a:cxnLst>
              <a:rect l="T18" t="T19" r="T20" b="T21"/>
              <a:pathLst>
                <a:path w="221" h="360">
                  <a:moveTo>
                    <a:pt x="190" y="82"/>
                  </a:moveTo>
                  <a:cubicBezTo>
                    <a:pt x="29" y="0"/>
                    <a:pt x="29" y="0"/>
                    <a:pt x="29" y="0"/>
                  </a:cubicBezTo>
                  <a:cubicBezTo>
                    <a:pt x="10" y="39"/>
                    <a:pt x="0" y="82"/>
                    <a:pt x="0" y="127"/>
                  </a:cubicBezTo>
                  <a:cubicBezTo>
                    <a:pt x="0" y="222"/>
                    <a:pt x="45" y="306"/>
                    <a:pt x="115" y="360"/>
                  </a:cubicBezTo>
                  <a:cubicBezTo>
                    <a:pt x="221" y="214"/>
                    <a:pt x="221" y="214"/>
                    <a:pt x="221" y="214"/>
                  </a:cubicBezTo>
                  <a:cubicBezTo>
                    <a:pt x="183" y="182"/>
                    <a:pt x="170" y="128"/>
                    <a:pt x="190" y="82"/>
                  </a:cubicBezTo>
                  <a:close/>
                </a:path>
              </a:pathLst>
            </a:custGeom>
            <a:solidFill>
              <a:srgbClr val="483698"/>
            </a:solidFill>
            <a:ln w="3175">
              <a:solidFill>
                <a:srgbClr val="483698"/>
              </a:solidFill>
              <a:round/>
              <a:headEnd/>
              <a:tailEnd/>
            </a:ln>
          </p:spPr>
          <p:txBody>
            <a:bodyPr/>
            <a:lstStyle/>
            <a:p>
              <a:pPr defTabSz="488582"/>
              <a:endParaRPr lang="en-US" sz="1000" dirty="0">
                <a:solidFill>
                  <a:prstClr val="white"/>
                </a:solidFill>
                <a:latin typeface="Arial" panose="020B0604020202020204" pitchFamily="34" charset="0"/>
                <a:cs typeface="Arial" panose="020B0604020202020204" pitchFamily="34" charset="0"/>
              </a:endParaRPr>
            </a:p>
          </p:txBody>
        </p:sp>
        <p:sp>
          <p:nvSpPr>
            <p:cNvPr id="110" name="Freeform 63"/>
            <p:cNvSpPr>
              <a:spLocks/>
            </p:cNvSpPr>
            <p:nvPr/>
          </p:nvSpPr>
          <p:spPr bwMode="gray">
            <a:xfrm>
              <a:off x="4752819" y="3448345"/>
              <a:ext cx="1411346" cy="2024846"/>
            </a:xfrm>
            <a:custGeom>
              <a:avLst/>
              <a:gdLst>
                <a:gd name="T0" fmla="*/ 2147483647 w 221"/>
                <a:gd name="T1" fmla="*/ 0 h 317"/>
                <a:gd name="T2" fmla="*/ 2147483647 w 221"/>
                <a:gd name="T3" fmla="*/ 2147483647 h 317"/>
                <a:gd name="T4" fmla="*/ 2147483647 w 221"/>
                <a:gd name="T5" fmla="*/ 2147483647 h 317"/>
                <a:gd name="T6" fmla="*/ 0 w 221"/>
                <a:gd name="T7" fmla="*/ 2147483647 h 317"/>
                <a:gd name="T8" fmla="*/ 2147483647 w 221"/>
                <a:gd name="T9" fmla="*/ 2147483647 h 317"/>
                <a:gd name="T10" fmla="*/ 2147483647 w 221"/>
                <a:gd name="T11" fmla="*/ 2147483647 h 317"/>
                <a:gd name="T12" fmla="*/ 2147483647 w 221"/>
                <a:gd name="T13" fmla="*/ 0 h 317"/>
                <a:gd name="T14" fmla="*/ 0 60000 65536"/>
                <a:gd name="T15" fmla="*/ 0 60000 65536"/>
                <a:gd name="T16" fmla="*/ 0 60000 65536"/>
                <a:gd name="T17" fmla="*/ 0 60000 65536"/>
                <a:gd name="T18" fmla="*/ 0 60000 65536"/>
                <a:gd name="T19" fmla="*/ 0 60000 65536"/>
                <a:gd name="T20" fmla="*/ 0 60000 65536"/>
                <a:gd name="T21" fmla="*/ 0 w 221"/>
                <a:gd name="T22" fmla="*/ 0 h 317"/>
                <a:gd name="T23" fmla="*/ 221 w 221"/>
                <a:gd name="T24" fmla="*/ 317 h 3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1" h="317">
                  <a:moveTo>
                    <a:pt x="209" y="0"/>
                  </a:moveTo>
                  <a:cubicBezTo>
                    <a:pt x="37" y="56"/>
                    <a:pt x="37" y="56"/>
                    <a:pt x="37" y="56"/>
                  </a:cubicBezTo>
                  <a:cubicBezTo>
                    <a:pt x="45" y="85"/>
                    <a:pt x="41" y="115"/>
                    <a:pt x="26" y="141"/>
                  </a:cubicBezTo>
                  <a:cubicBezTo>
                    <a:pt x="19" y="152"/>
                    <a:pt x="10" y="162"/>
                    <a:pt x="0" y="171"/>
                  </a:cubicBezTo>
                  <a:cubicBezTo>
                    <a:pt x="106" y="317"/>
                    <a:pt x="106" y="317"/>
                    <a:pt x="106" y="317"/>
                  </a:cubicBezTo>
                  <a:cubicBezTo>
                    <a:pt x="176" y="263"/>
                    <a:pt x="221" y="179"/>
                    <a:pt x="221" y="84"/>
                  </a:cubicBezTo>
                  <a:cubicBezTo>
                    <a:pt x="221" y="55"/>
                    <a:pt x="217" y="27"/>
                    <a:pt x="209" y="0"/>
                  </a:cubicBezTo>
                  <a:close/>
                </a:path>
              </a:pathLst>
            </a:custGeom>
            <a:solidFill>
              <a:srgbClr val="00A3A1"/>
            </a:solidFill>
            <a:ln w="3175">
              <a:solidFill>
                <a:srgbClr val="00A3A1"/>
              </a:solidFill>
              <a:round/>
              <a:headEnd/>
              <a:tailEnd/>
            </a:ln>
          </p:spPr>
          <p:txBody>
            <a:bodyPr/>
            <a:lstStyle/>
            <a:p>
              <a:pPr defTabSz="488582"/>
              <a:endParaRPr lang="en-US" sz="1000" dirty="0">
                <a:solidFill>
                  <a:prstClr val="white"/>
                </a:solidFill>
                <a:latin typeface="Arial" panose="020B0604020202020204" pitchFamily="34" charset="0"/>
                <a:cs typeface="Arial" panose="020B0604020202020204" pitchFamily="34" charset="0"/>
              </a:endParaRPr>
            </a:p>
          </p:txBody>
        </p:sp>
        <p:sp>
          <p:nvSpPr>
            <p:cNvPr id="111" name="Oval 111"/>
            <p:cNvSpPr>
              <a:spLocks noChangeAspect="1" noChangeArrowheads="1"/>
            </p:cNvSpPr>
            <p:nvPr/>
          </p:nvSpPr>
          <p:spPr bwMode="gray">
            <a:xfrm>
              <a:off x="3677719" y="3364284"/>
              <a:ext cx="1237323" cy="1237322"/>
            </a:xfrm>
            <a:prstGeom prst="ellipse">
              <a:avLst/>
            </a:prstGeom>
            <a:solidFill>
              <a:srgbClr val="6D2077"/>
            </a:solidFill>
            <a:ln w="3175" algn="ctr">
              <a:solidFill>
                <a:srgbClr val="6D2077"/>
              </a:solidFill>
              <a:round/>
              <a:headEnd/>
              <a:tailEnd/>
            </a:ln>
          </p:spPr>
          <p:txBody>
            <a:bodyPr wrap="square" lIns="0" tIns="0" rIns="0" bIns="0" anchor="ctr"/>
            <a:lstStyle/>
            <a:p>
              <a:pPr algn="ctr" defTabSz="488582"/>
              <a:r>
                <a:rPr lang="en-US" sz="900" b="1" dirty="0">
                  <a:solidFill>
                    <a:prstClr val="white"/>
                  </a:solidFill>
                  <a:latin typeface="Arial" panose="020B0604020202020204" pitchFamily="34" charset="0"/>
                  <a:cs typeface="Arial" panose="020B0604020202020204" pitchFamily="34" charset="0"/>
                </a:rPr>
                <a:t>SOLUTION CLUSTER</a:t>
              </a:r>
              <a:endParaRPr lang="en-US" sz="900" b="1" dirty="0">
                <a:solidFill>
                  <a:prstClr val="white"/>
                </a:solidFill>
                <a:latin typeface="Arial" panose="020B0604020202020204" pitchFamily="34" charset="0"/>
                <a:cs typeface="Arial" panose="020B0604020202020204" pitchFamily="34" charset="0"/>
              </a:endParaRPr>
            </a:p>
          </p:txBody>
        </p:sp>
      </p:grpSp>
      <p:sp>
        <p:nvSpPr>
          <p:cNvPr id="112" name="Rectangle 111"/>
          <p:cNvSpPr/>
          <p:nvPr/>
        </p:nvSpPr>
        <p:spPr>
          <a:xfrm>
            <a:off x="1315878" y="1804015"/>
            <a:ext cx="2408215" cy="1477328"/>
          </a:xfrm>
          <a:prstGeom prst="rect">
            <a:avLst/>
          </a:prstGeom>
        </p:spPr>
        <p:txBody>
          <a:bodyPr wrap="square">
            <a:spAutoFit/>
          </a:bodyPr>
          <a:lstStyle/>
          <a:p>
            <a:pPr marL="228600" indent="-228600" defTabSz="488582">
              <a:buClr>
                <a:srgbClr val="470A68"/>
              </a:buClr>
              <a:buFont typeface="Arial" panose="020B0604020202020204" pitchFamily="34" charset="0"/>
              <a:buChar char="•"/>
            </a:pPr>
            <a:r>
              <a:rPr lang="en-US" sz="1000" dirty="0">
                <a:solidFill>
                  <a:srgbClr val="470A68"/>
                </a:solidFill>
              </a:rPr>
              <a:t>Competition</a:t>
            </a:r>
          </a:p>
          <a:p>
            <a:pPr marL="228600" indent="-228600" defTabSz="488582">
              <a:buClr>
                <a:srgbClr val="470A68"/>
              </a:buClr>
              <a:buFont typeface="Arial" panose="020B0604020202020204" pitchFamily="34" charset="0"/>
              <a:buChar char="•"/>
            </a:pPr>
            <a:r>
              <a:rPr lang="en-US" sz="1000" dirty="0">
                <a:solidFill>
                  <a:srgbClr val="470A68"/>
                </a:solidFill>
              </a:rPr>
              <a:t>Customers</a:t>
            </a:r>
          </a:p>
          <a:p>
            <a:pPr marL="228600" indent="-228600" defTabSz="488582">
              <a:buClr>
                <a:srgbClr val="470A68"/>
              </a:buClr>
              <a:buFont typeface="Arial" panose="020B0604020202020204" pitchFamily="34" charset="0"/>
              <a:buChar char="•"/>
            </a:pPr>
            <a:r>
              <a:rPr lang="en-US" sz="1000" dirty="0">
                <a:solidFill>
                  <a:srgbClr val="470A68"/>
                </a:solidFill>
              </a:rPr>
              <a:t>Integration Blueprint</a:t>
            </a:r>
          </a:p>
          <a:p>
            <a:pPr marL="228600" indent="-228600" defTabSz="488582">
              <a:buClr>
                <a:srgbClr val="470A68"/>
              </a:buClr>
              <a:buFont typeface="Arial" panose="020B0604020202020204" pitchFamily="34" charset="0"/>
              <a:buChar char="•"/>
            </a:pPr>
            <a:r>
              <a:rPr lang="en-US" sz="1000" dirty="0">
                <a:solidFill>
                  <a:srgbClr val="470A68"/>
                </a:solidFill>
              </a:rPr>
              <a:t>Market Analysis</a:t>
            </a:r>
          </a:p>
          <a:p>
            <a:pPr marL="228600" indent="-228600" defTabSz="488582">
              <a:buClr>
                <a:srgbClr val="470A68"/>
              </a:buClr>
              <a:buFont typeface="Arial" panose="020B0604020202020204" pitchFamily="34" charset="0"/>
              <a:buChar char="•"/>
            </a:pPr>
            <a:r>
              <a:rPr lang="en-US" sz="1000" dirty="0">
                <a:solidFill>
                  <a:srgbClr val="470A68"/>
                </a:solidFill>
              </a:rPr>
              <a:t>People, Culture and Communication</a:t>
            </a:r>
          </a:p>
          <a:p>
            <a:pPr marL="228600" indent="-228600" defTabSz="488582">
              <a:buClr>
                <a:srgbClr val="470A68"/>
              </a:buClr>
              <a:buFont typeface="Arial" panose="020B0604020202020204" pitchFamily="34" charset="0"/>
              <a:buChar char="•"/>
            </a:pPr>
            <a:r>
              <a:rPr lang="en-US" sz="1000" dirty="0">
                <a:solidFill>
                  <a:srgbClr val="470A68"/>
                </a:solidFill>
              </a:rPr>
              <a:t>Synergy Management</a:t>
            </a:r>
          </a:p>
          <a:p>
            <a:pPr marL="228600" indent="-228600" defTabSz="488582">
              <a:buClr>
                <a:srgbClr val="470A68"/>
              </a:buClr>
              <a:buFont typeface="Arial" panose="020B0604020202020204" pitchFamily="34" charset="0"/>
              <a:buChar char="•"/>
            </a:pPr>
            <a:r>
              <a:rPr lang="en-US" sz="1000" dirty="0">
                <a:solidFill>
                  <a:srgbClr val="470A68"/>
                </a:solidFill>
              </a:rPr>
              <a:t>Take Control</a:t>
            </a:r>
          </a:p>
          <a:p>
            <a:pPr marL="228600" indent="-228600" defTabSz="488582">
              <a:buClr>
                <a:srgbClr val="470A68"/>
              </a:buClr>
              <a:buFont typeface="Arial" panose="020B0604020202020204" pitchFamily="34" charset="0"/>
              <a:buChar char="•"/>
            </a:pPr>
            <a:r>
              <a:rPr lang="en-US" sz="1000" dirty="0">
                <a:solidFill>
                  <a:srgbClr val="470A68"/>
                </a:solidFill>
              </a:rPr>
              <a:t>Target Operating Model</a:t>
            </a:r>
          </a:p>
        </p:txBody>
      </p:sp>
      <p:sp>
        <p:nvSpPr>
          <p:cNvPr id="113" name="Rectangle 112"/>
          <p:cNvSpPr/>
          <p:nvPr/>
        </p:nvSpPr>
        <p:spPr>
          <a:xfrm>
            <a:off x="6120698" y="2183263"/>
            <a:ext cx="2629043" cy="1015663"/>
          </a:xfrm>
          <a:prstGeom prst="rect">
            <a:avLst/>
          </a:prstGeom>
        </p:spPr>
        <p:txBody>
          <a:bodyPr wrap="square">
            <a:spAutoFit/>
          </a:bodyPr>
          <a:lstStyle/>
          <a:p>
            <a:pPr marL="228600" indent="-228600" defTabSz="488582">
              <a:buClr>
                <a:srgbClr val="00338D"/>
              </a:buClr>
              <a:buFont typeface="Arial" panose="020B0604020202020204" pitchFamily="34" charset="0"/>
              <a:buChar char="•"/>
            </a:pPr>
            <a:r>
              <a:rPr lang="en-US" sz="1000" dirty="0">
                <a:solidFill>
                  <a:srgbClr val="00338D"/>
                </a:solidFill>
              </a:rPr>
              <a:t>Data Room</a:t>
            </a:r>
          </a:p>
          <a:p>
            <a:pPr marL="228600" indent="-228600" defTabSz="488582">
              <a:buClr>
                <a:srgbClr val="00338D"/>
              </a:buClr>
              <a:buFont typeface="Arial" panose="020B0604020202020204" pitchFamily="34" charset="0"/>
              <a:buChar char="•"/>
            </a:pPr>
            <a:r>
              <a:rPr lang="en-US" sz="1000" dirty="0">
                <a:solidFill>
                  <a:srgbClr val="00338D"/>
                </a:solidFill>
              </a:rPr>
              <a:t>Negotiation Support</a:t>
            </a:r>
          </a:p>
          <a:p>
            <a:pPr marL="228600" indent="-228600" defTabSz="488582">
              <a:buClr>
                <a:srgbClr val="00338D"/>
              </a:buClr>
              <a:buFont typeface="Arial" panose="020B0604020202020204" pitchFamily="34" charset="0"/>
              <a:buChar char="•"/>
            </a:pPr>
            <a:r>
              <a:rPr lang="en-US" sz="1000" dirty="0">
                <a:solidFill>
                  <a:srgbClr val="00338D"/>
                </a:solidFill>
              </a:rPr>
              <a:t>Potential Buyer Analysis</a:t>
            </a:r>
          </a:p>
          <a:p>
            <a:pPr marL="228600" indent="-228600" defTabSz="488582">
              <a:buClr>
                <a:srgbClr val="00338D"/>
              </a:buClr>
              <a:buFont typeface="Arial" panose="020B0604020202020204" pitchFamily="34" charset="0"/>
              <a:buChar char="•"/>
            </a:pPr>
            <a:r>
              <a:rPr lang="en-US" sz="1000" dirty="0">
                <a:solidFill>
                  <a:srgbClr val="00338D"/>
                </a:solidFill>
              </a:rPr>
              <a:t>Process Letters and Analysis of Offers</a:t>
            </a:r>
          </a:p>
          <a:p>
            <a:pPr marL="173038" indent="-173038" defTabSz="488582">
              <a:buClr>
                <a:srgbClr val="00338D"/>
              </a:buClr>
              <a:buFont typeface="Arial" panose="020B0604020202020204" pitchFamily="34" charset="0"/>
              <a:buChar char="■"/>
            </a:pPr>
            <a:endParaRPr lang="en-US" sz="1000" dirty="0">
              <a:solidFill>
                <a:srgbClr val="00338D"/>
              </a:solidFill>
            </a:endParaRPr>
          </a:p>
        </p:txBody>
      </p:sp>
      <p:sp>
        <p:nvSpPr>
          <p:cNvPr id="114" name="Rectangle 113"/>
          <p:cNvSpPr/>
          <p:nvPr/>
        </p:nvSpPr>
        <p:spPr>
          <a:xfrm>
            <a:off x="6124648" y="3198926"/>
            <a:ext cx="2507197" cy="1938992"/>
          </a:xfrm>
          <a:prstGeom prst="rect">
            <a:avLst/>
          </a:prstGeom>
        </p:spPr>
        <p:txBody>
          <a:bodyPr wrap="square">
            <a:spAutoFit/>
          </a:bodyPr>
          <a:lstStyle/>
          <a:p>
            <a:pPr marL="228600" indent="-228600" defTabSz="488582">
              <a:buClr>
                <a:srgbClr val="00A3A1"/>
              </a:buClr>
              <a:buFont typeface="Arial" panose="020B0604020202020204" pitchFamily="34" charset="0"/>
              <a:buChar char="•"/>
            </a:pPr>
            <a:r>
              <a:rPr lang="en-US" sz="1000" dirty="0">
                <a:solidFill>
                  <a:srgbClr val="00A3A1"/>
                </a:solidFill>
              </a:rPr>
              <a:t>Cash Flow (Planning)</a:t>
            </a:r>
          </a:p>
          <a:p>
            <a:pPr marL="228600" indent="-228600" defTabSz="488582">
              <a:buClr>
                <a:srgbClr val="00A3A1"/>
              </a:buClr>
              <a:buFont typeface="Arial" panose="020B0604020202020204" pitchFamily="34" charset="0"/>
              <a:buChar char="•"/>
            </a:pPr>
            <a:r>
              <a:rPr lang="en-US" sz="1000" dirty="0">
                <a:solidFill>
                  <a:srgbClr val="00A3A1"/>
                </a:solidFill>
              </a:rPr>
              <a:t>Expenditures for Gross Profit to EBIT Cost of Sales (Planning)</a:t>
            </a:r>
          </a:p>
          <a:p>
            <a:pPr marL="228600" indent="-228600" defTabSz="488582">
              <a:buClr>
                <a:srgbClr val="00A3A1"/>
              </a:buClr>
              <a:buFont typeface="Arial" panose="020B0604020202020204" pitchFamily="34" charset="0"/>
              <a:buChar char="•"/>
            </a:pPr>
            <a:r>
              <a:rPr lang="en-US" sz="1000" dirty="0">
                <a:solidFill>
                  <a:srgbClr val="00A3A1"/>
                </a:solidFill>
              </a:rPr>
              <a:t>Expenditures from Gross Profit to EBIT Total Cost Method (Planning)</a:t>
            </a:r>
          </a:p>
          <a:p>
            <a:pPr marL="228600" indent="-228600" defTabSz="488582">
              <a:buClr>
                <a:srgbClr val="00A3A1"/>
              </a:buClr>
              <a:buFont typeface="Arial" panose="020B0604020202020204" pitchFamily="34" charset="0"/>
              <a:buChar char="•"/>
            </a:pPr>
            <a:r>
              <a:rPr lang="en-US" sz="1000" dirty="0">
                <a:solidFill>
                  <a:srgbClr val="00A3A1"/>
                </a:solidFill>
              </a:rPr>
              <a:t>Financing (Planning)</a:t>
            </a:r>
          </a:p>
          <a:p>
            <a:pPr marL="228600" indent="-228600" defTabSz="488582">
              <a:buClr>
                <a:srgbClr val="00A3A1"/>
              </a:buClr>
              <a:buFont typeface="Arial" panose="020B0604020202020204" pitchFamily="34" charset="0"/>
              <a:buChar char="•"/>
            </a:pPr>
            <a:r>
              <a:rPr lang="en-US" sz="1000" dirty="0">
                <a:solidFill>
                  <a:srgbClr val="00A3A1"/>
                </a:solidFill>
              </a:rPr>
              <a:t>Investments (Planning)</a:t>
            </a:r>
          </a:p>
          <a:p>
            <a:pPr marL="228600" indent="-228600" defTabSz="488582">
              <a:buClr>
                <a:srgbClr val="00A3A1"/>
              </a:buClr>
              <a:buFont typeface="Arial" panose="020B0604020202020204" pitchFamily="34" charset="0"/>
              <a:buChar char="•"/>
            </a:pPr>
            <a:r>
              <a:rPr lang="en-US" sz="1000" dirty="0">
                <a:solidFill>
                  <a:srgbClr val="00A3A1"/>
                </a:solidFill>
              </a:rPr>
              <a:t>Planning Process and Adherence to Planning</a:t>
            </a:r>
          </a:p>
          <a:p>
            <a:pPr marL="228600" indent="-228600" defTabSz="488582">
              <a:buClr>
                <a:srgbClr val="00A3A1"/>
              </a:buClr>
              <a:buFont typeface="Arial" panose="020B0604020202020204" pitchFamily="34" charset="0"/>
              <a:buChar char="•"/>
            </a:pPr>
            <a:r>
              <a:rPr lang="en-US" sz="1000" dirty="0">
                <a:solidFill>
                  <a:srgbClr val="00A3A1"/>
                </a:solidFill>
              </a:rPr>
              <a:t>Sales and Gross Profit (Planning)</a:t>
            </a:r>
          </a:p>
          <a:p>
            <a:pPr marL="228600" indent="-228600" defTabSz="488582">
              <a:buClr>
                <a:srgbClr val="00A3A1"/>
              </a:buClr>
              <a:buFont typeface="Arial" panose="020B0604020202020204" pitchFamily="34" charset="0"/>
              <a:buChar char="•"/>
            </a:pPr>
            <a:r>
              <a:rPr lang="en-US" sz="1000" dirty="0">
                <a:solidFill>
                  <a:srgbClr val="00A3A1"/>
                </a:solidFill>
              </a:rPr>
              <a:t>Sustainable Result (Income) / Terminal Value</a:t>
            </a:r>
          </a:p>
        </p:txBody>
      </p:sp>
      <p:sp>
        <p:nvSpPr>
          <p:cNvPr id="115" name="Rectangle 114"/>
          <p:cNvSpPr/>
          <p:nvPr/>
        </p:nvSpPr>
        <p:spPr>
          <a:xfrm>
            <a:off x="1323482" y="3519572"/>
            <a:ext cx="2066262" cy="1938992"/>
          </a:xfrm>
          <a:prstGeom prst="rect">
            <a:avLst/>
          </a:prstGeom>
        </p:spPr>
        <p:txBody>
          <a:bodyPr wrap="square">
            <a:spAutoFit/>
          </a:bodyPr>
          <a:lstStyle/>
          <a:p>
            <a:pPr marL="228600" indent="-228600" defTabSz="488582">
              <a:buClr>
                <a:srgbClr val="483698"/>
              </a:buClr>
              <a:buFont typeface="Arial" panose="020B0604020202020204" pitchFamily="34" charset="0"/>
              <a:buChar char="•"/>
            </a:pPr>
            <a:r>
              <a:rPr lang="en-US" sz="1000" dirty="0">
                <a:solidFill>
                  <a:srgbClr val="483698"/>
                </a:solidFill>
              </a:rPr>
              <a:t>Cash Flow (Historical)</a:t>
            </a:r>
          </a:p>
          <a:p>
            <a:pPr marL="228600" indent="-228600" defTabSz="488582">
              <a:buClr>
                <a:srgbClr val="483698"/>
              </a:buClr>
              <a:buFont typeface="Arial" panose="020B0604020202020204" pitchFamily="34" charset="0"/>
              <a:buChar char="•"/>
            </a:pPr>
            <a:r>
              <a:rPr lang="en-US" sz="1000" dirty="0">
                <a:solidFill>
                  <a:srgbClr val="483698"/>
                </a:solidFill>
              </a:rPr>
              <a:t>Expenses - Total Cost Method (Historical) </a:t>
            </a:r>
          </a:p>
          <a:p>
            <a:pPr marL="228600" indent="-228600" defTabSz="488582">
              <a:buClr>
                <a:srgbClr val="483698"/>
              </a:buClr>
              <a:buFont typeface="Arial" panose="020B0604020202020204" pitchFamily="34" charset="0"/>
              <a:buChar char="•"/>
            </a:pPr>
            <a:r>
              <a:rPr lang="en-US" sz="1000" dirty="0">
                <a:solidFill>
                  <a:srgbClr val="483698"/>
                </a:solidFill>
              </a:rPr>
              <a:t>Expenses – Cost of Sales (Historical)</a:t>
            </a:r>
          </a:p>
          <a:p>
            <a:pPr marL="228600" indent="-228600" defTabSz="488582">
              <a:buClr>
                <a:srgbClr val="483698"/>
              </a:buClr>
              <a:buFont typeface="Arial" panose="020B0604020202020204" pitchFamily="34" charset="0"/>
              <a:buChar char="•"/>
            </a:pPr>
            <a:r>
              <a:rPr lang="en-US" sz="1000" dirty="0">
                <a:solidFill>
                  <a:srgbClr val="483698"/>
                </a:solidFill>
              </a:rPr>
              <a:t>Financing – Net Debt</a:t>
            </a:r>
          </a:p>
          <a:p>
            <a:pPr marL="228600" indent="-228600" defTabSz="488582">
              <a:buClr>
                <a:srgbClr val="483698"/>
              </a:buClr>
              <a:buFont typeface="Arial" panose="020B0604020202020204" pitchFamily="34" charset="0"/>
              <a:buChar char="•"/>
            </a:pPr>
            <a:r>
              <a:rPr lang="en-US" sz="1000" dirty="0">
                <a:solidFill>
                  <a:srgbClr val="483698"/>
                </a:solidFill>
              </a:rPr>
              <a:t>Fixed Assets – Capex</a:t>
            </a:r>
          </a:p>
          <a:p>
            <a:pPr marL="228600" indent="-228600" defTabSz="488582">
              <a:buClr>
                <a:srgbClr val="483698"/>
              </a:buClr>
              <a:buFont typeface="Arial" panose="020B0604020202020204" pitchFamily="34" charset="0"/>
              <a:buChar char="•"/>
            </a:pPr>
            <a:r>
              <a:rPr lang="en-US" sz="1000" dirty="0">
                <a:solidFill>
                  <a:srgbClr val="483698"/>
                </a:solidFill>
              </a:rPr>
              <a:t>Normalized Earnings</a:t>
            </a:r>
          </a:p>
          <a:p>
            <a:pPr marL="228600" indent="-228600" defTabSz="488582">
              <a:buClr>
                <a:srgbClr val="483698"/>
              </a:buClr>
              <a:buFont typeface="Arial" panose="020B0604020202020204" pitchFamily="34" charset="0"/>
              <a:buChar char="•"/>
            </a:pPr>
            <a:r>
              <a:rPr lang="en-US" sz="1000" dirty="0">
                <a:solidFill>
                  <a:srgbClr val="483698"/>
                </a:solidFill>
              </a:rPr>
              <a:t>Provisions (and Other Balance Sheet Items)</a:t>
            </a:r>
          </a:p>
          <a:p>
            <a:pPr marL="228600" indent="-228600" defTabSz="488582">
              <a:buClr>
                <a:srgbClr val="483698"/>
              </a:buClr>
              <a:buFont typeface="Arial" panose="020B0604020202020204" pitchFamily="34" charset="0"/>
              <a:buChar char="•"/>
            </a:pPr>
            <a:r>
              <a:rPr lang="en-US" sz="1000" dirty="0">
                <a:solidFill>
                  <a:srgbClr val="483698"/>
                </a:solidFill>
              </a:rPr>
              <a:t>Sales and Growth Profit (Historical)</a:t>
            </a:r>
          </a:p>
        </p:txBody>
      </p:sp>
      <p:sp>
        <p:nvSpPr>
          <p:cNvPr id="116" name="Rectangle 64"/>
          <p:cNvSpPr>
            <a:spLocks noChangeArrowheads="1"/>
          </p:cNvSpPr>
          <p:nvPr/>
        </p:nvSpPr>
        <p:spPr bwMode="gray">
          <a:xfrm>
            <a:off x="4619595" y="2718359"/>
            <a:ext cx="1243222" cy="230832"/>
          </a:xfrm>
          <a:prstGeom prst="rect">
            <a:avLst/>
          </a:prstGeom>
          <a:noFill/>
          <a:ln w="9525">
            <a:noFill/>
            <a:miter lim="800000"/>
            <a:headEnd/>
            <a:tailEnd/>
          </a:ln>
        </p:spPr>
        <p:txBody>
          <a:bodyPr>
            <a:spAutoFit/>
          </a:bodyPr>
          <a:lstStyle/>
          <a:p>
            <a:pPr algn="ctr" defTabSz="488582" eaLnBrk="0" hangingPunct="0">
              <a:spcBef>
                <a:spcPct val="20000"/>
              </a:spcBef>
            </a:pPr>
            <a:r>
              <a:rPr lang="en-US" sz="900" b="1" dirty="0">
                <a:solidFill>
                  <a:prstClr val="white"/>
                </a:solidFill>
                <a:latin typeface="Arial" panose="020B0604020202020204" pitchFamily="34" charset="0"/>
                <a:cs typeface="Arial" panose="020B0604020202020204" pitchFamily="34" charset="0"/>
              </a:rPr>
              <a:t>M&amp;A</a:t>
            </a:r>
          </a:p>
        </p:txBody>
      </p:sp>
      <p:sp>
        <p:nvSpPr>
          <p:cNvPr id="117" name="Rectangle 65"/>
          <p:cNvSpPr>
            <a:spLocks noChangeArrowheads="1"/>
          </p:cNvSpPr>
          <p:nvPr/>
        </p:nvSpPr>
        <p:spPr bwMode="gray">
          <a:xfrm>
            <a:off x="2944686" y="3668192"/>
            <a:ext cx="1428242" cy="369332"/>
          </a:xfrm>
          <a:prstGeom prst="rect">
            <a:avLst/>
          </a:prstGeom>
          <a:noFill/>
          <a:ln w="9525" algn="ctr">
            <a:noFill/>
            <a:miter lim="800000"/>
            <a:headEnd/>
            <a:tailEnd/>
          </a:ln>
        </p:spPr>
        <p:txBody>
          <a:bodyPr wrap="square">
            <a:spAutoFit/>
          </a:bodyPr>
          <a:lstStyle/>
          <a:p>
            <a:pPr algn="ctr" defTabSz="488582" eaLnBrk="0" hangingPunct="0">
              <a:spcBef>
                <a:spcPct val="20000"/>
              </a:spcBef>
            </a:pPr>
            <a:r>
              <a:rPr lang="en-US" sz="900" b="1" dirty="0">
                <a:solidFill>
                  <a:prstClr val="white"/>
                </a:solidFill>
                <a:latin typeface="Arial" panose="020B0604020202020204" pitchFamily="34" charset="0"/>
                <a:cs typeface="Arial" panose="020B0604020202020204" pitchFamily="34" charset="0"/>
              </a:rPr>
              <a:t>TRANSACTION SERVICES</a:t>
            </a:r>
          </a:p>
        </p:txBody>
      </p:sp>
      <p:sp>
        <p:nvSpPr>
          <p:cNvPr id="118" name="Rectangle 66"/>
          <p:cNvSpPr>
            <a:spLocks noChangeArrowheads="1"/>
          </p:cNvSpPr>
          <p:nvPr/>
        </p:nvSpPr>
        <p:spPr bwMode="gray">
          <a:xfrm>
            <a:off x="3388961" y="2700902"/>
            <a:ext cx="1069317" cy="230832"/>
          </a:xfrm>
          <a:prstGeom prst="rect">
            <a:avLst/>
          </a:prstGeom>
          <a:noFill/>
          <a:ln w="9525" algn="ctr">
            <a:noFill/>
            <a:miter lim="800000"/>
            <a:headEnd/>
            <a:tailEnd/>
          </a:ln>
        </p:spPr>
        <p:txBody>
          <a:bodyPr wrap="square">
            <a:spAutoFit/>
          </a:bodyPr>
          <a:lstStyle/>
          <a:p>
            <a:pPr algn="r" defTabSz="488582" eaLnBrk="0" hangingPunct="0">
              <a:spcBef>
                <a:spcPct val="20000"/>
              </a:spcBef>
            </a:pPr>
            <a:r>
              <a:rPr lang="en-US" sz="900" b="1" dirty="0">
                <a:solidFill>
                  <a:prstClr val="white"/>
                </a:solidFill>
                <a:latin typeface="Arial" panose="020B0604020202020204" pitchFamily="34" charset="0"/>
                <a:cs typeface="Arial" panose="020B0604020202020204" pitchFamily="34" charset="0"/>
              </a:rPr>
              <a:t>STRATEGY</a:t>
            </a:r>
          </a:p>
        </p:txBody>
      </p:sp>
      <p:sp>
        <p:nvSpPr>
          <p:cNvPr id="119" name="Rectangle 68"/>
          <p:cNvSpPr>
            <a:spLocks noChangeArrowheads="1"/>
          </p:cNvSpPr>
          <p:nvPr/>
        </p:nvSpPr>
        <p:spPr bwMode="gray">
          <a:xfrm>
            <a:off x="3861816" y="4461108"/>
            <a:ext cx="1585435" cy="230832"/>
          </a:xfrm>
          <a:prstGeom prst="rect">
            <a:avLst/>
          </a:prstGeom>
          <a:noFill/>
          <a:ln w="9525" algn="ctr">
            <a:noFill/>
            <a:miter lim="800000"/>
            <a:headEnd/>
            <a:tailEnd/>
          </a:ln>
        </p:spPr>
        <p:txBody>
          <a:bodyPr wrap="square">
            <a:spAutoFit/>
          </a:bodyPr>
          <a:lstStyle/>
          <a:p>
            <a:pPr algn="ctr" defTabSz="488582" eaLnBrk="0" hangingPunct="0">
              <a:spcBef>
                <a:spcPct val="20000"/>
              </a:spcBef>
            </a:pPr>
            <a:r>
              <a:rPr lang="en-US" sz="900" b="1" dirty="0">
                <a:solidFill>
                  <a:prstClr val="white"/>
                </a:solidFill>
                <a:latin typeface="Arial" panose="020B0604020202020204" pitchFamily="34" charset="0"/>
                <a:cs typeface="Arial" panose="020B0604020202020204" pitchFamily="34" charset="0"/>
              </a:rPr>
              <a:t>RESTRUCTURING</a:t>
            </a:r>
          </a:p>
        </p:txBody>
      </p:sp>
      <p:sp>
        <p:nvSpPr>
          <p:cNvPr id="120" name="Rectangle 119"/>
          <p:cNvSpPr/>
          <p:nvPr/>
        </p:nvSpPr>
        <p:spPr>
          <a:xfrm>
            <a:off x="3985053" y="5090271"/>
            <a:ext cx="2346551" cy="707886"/>
          </a:xfrm>
          <a:prstGeom prst="rect">
            <a:avLst/>
          </a:prstGeom>
        </p:spPr>
        <p:txBody>
          <a:bodyPr wrap="square">
            <a:spAutoFit/>
          </a:bodyPr>
          <a:lstStyle/>
          <a:p>
            <a:pPr marL="228600" indent="-228600" defTabSz="488582">
              <a:buClr>
                <a:srgbClr val="0091DA"/>
              </a:buClr>
              <a:buFont typeface="Arial" panose="020B0604020202020204" pitchFamily="34" charset="0"/>
              <a:buChar char="•"/>
            </a:pPr>
            <a:r>
              <a:rPr lang="en-US" sz="1000" dirty="0" smtClean="0">
                <a:solidFill>
                  <a:srgbClr val="0091DA"/>
                </a:solidFill>
              </a:rPr>
              <a:t>Cash Management</a:t>
            </a:r>
          </a:p>
          <a:p>
            <a:pPr marL="228600" indent="-228600" defTabSz="488582">
              <a:buClr>
                <a:srgbClr val="0091DA"/>
              </a:buClr>
              <a:buFont typeface="Arial" panose="020B0604020202020204" pitchFamily="34" charset="0"/>
              <a:buChar char="•"/>
            </a:pPr>
            <a:r>
              <a:rPr lang="en-US" sz="1000" dirty="0" smtClean="0">
                <a:solidFill>
                  <a:srgbClr val="0091DA"/>
                </a:solidFill>
              </a:rPr>
              <a:t>Company Overview</a:t>
            </a:r>
          </a:p>
          <a:p>
            <a:pPr marL="228600" indent="-228600" defTabSz="488582">
              <a:buClr>
                <a:srgbClr val="0091DA"/>
              </a:buClr>
              <a:buFont typeface="Arial" panose="020B0604020202020204" pitchFamily="34" charset="0"/>
              <a:buChar char="•"/>
            </a:pPr>
            <a:r>
              <a:rPr lang="en-US" sz="1000" dirty="0" smtClean="0">
                <a:solidFill>
                  <a:srgbClr val="0091DA"/>
                </a:solidFill>
              </a:rPr>
              <a:t>Planning Premises</a:t>
            </a:r>
          </a:p>
          <a:p>
            <a:pPr marL="228600" indent="-228600" defTabSz="488582">
              <a:buClr>
                <a:srgbClr val="0091DA"/>
              </a:buClr>
              <a:buFont typeface="Arial" panose="020B0604020202020204" pitchFamily="34" charset="0"/>
              <a:buChar char="•"/>
            </a:pPr>
            <a:r>
              <a:rPr lang="en-US" sz="1000" dirty="0" smtClean="0">
                <a:solidFill>
                  <a:srgbClr val="0091DA"/>
                </a:solidFill>
              </a:rPr>
              <a:t>Working Capital</a:t>
            </a:r>
            <a:endParaRPr lang="en-US" sz="1000" dirty="0">
              <a:solidFill>
                <a:srgbClr val="0091DA"/>
              </a:solidFill>
            </a:endParaRPr>
          </a:p>
        </p:txBody>
      </p:sp>
      <p:sp>
        <p:nvSpPr>
          <p:cNvPr id="121" name="Rectangle 67"/>
          <p:cNvSpPr>
            <a:spLocks noChangeArrowheads="1"/>
          </p:cNvSpPr>
          <p:nvPr/>
        </p:nvSpPr>
        <p:spPr bwMode="gray">
          <a:xfrm>
            <a:off x="4820032" y="3674560"/>
            <a:ext cx="1202728" cy="230832"/>
          </a:xfrm>
          <a:prstGeom prst="rect">
            <a:avLst/>
          </a:prstGeom>
          <a:noFill/>
          <a:ln w="9525">
            <a:noFill/>
            <a:miter lim="800000"/>
            <a:headEnd/>
            <a:tailEnd/>
          </a:ln>
        </p:spPr>
        <p:txBody>
          <a:bodyPr wrap="square">
            <a:spAutoFit/>
          </a:bodyPr>
          <a:lstStyle/>
          <a:p>
            <a:pPr algn="r" defTabSz="488582" eaLnBrk="0" hangingPunct="0">
              <a:spcBef>
                <a:spcPct val="20000"/>
              </a:spcBef>
            </a:pPr>
            <a:r>
              <a:rPr lang="en-US" sz="900" b="1" dirty="0">
                <a:solidFill>
                  <a:prstClr val="white"/>
                </a:solidFill>
                <a:latin typeface="Arial" panose="020B0604020202020204" pitchFamily="34" charset="0"/>
                <a:cs typeface="Arial" panose="020B0604020202020204" pitchFamily="34" charset="0"/>
              </a:rPr>
              <a:t>VALUATION</a:t>
            </a:r>
            <a:endParaRPr lang="en-US" sz="900" b="1"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59283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descreen Template">
  <a:themeElements>
    <a:clrScheme name="Custom 1">
      <a:dk1>
        <a:srgbClr val="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C6007E"/>
      </a:accent6>
      <a:hlink>
        <a:srgbClr val="0091DA"/>
      </a:hlink>
      <a:folHlink>
        <a:srgbClr val="0091DA"/>
      </a:folHlink>
    </a:clrScheme>
    <a:fontScheme name="Personnalisé 1">
      <a:majorFont>
        <a:latin typeface="KPMG Extralight"/>
        <a:ea typeface=""/>
        <a:cs typeface=""/>
      </a:majorFont>
      <a:minorFont>
        <a:latin typeface="Univers for KPM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36000" tIns="36000" rIns="36000" bIns="36000" rtlCol="0" anchor="ctr" anchorCtr="0">
        <a:noAutofit/>
      </a:bodyPr>
      <a:lstStyle>
        <a:defPPr algn="ctr">
          <a:defRPr sz="1000" dirty="0" smtClean="0">
            <a:solidFill>
              <a:schemeClr val="tx2"/>
            </a:solidFill>
          </a:defRPr>
        </a:defPPr>
      </a:lstStyle>
    </a:txDef>
  </a:objectDefaults>
  <a:extraClrSchemeLst/>
  <a:extLst>
    <a:ext uri="{05A4C25C-085E-4340-85A3-A5531E510DB2}">
      <thm15:themeFamily xmlns:thm15="http://schemas.microsoft.com/office/thememl/2012/main" name="EN - KPMG Widescreen Standard.potx" id="{E87B8EDA-AF2F-4DFD-92A3-27B3BB3F513A}" vid="{7F60A217-37EA-4E88-8F21-70CE098BAB0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TotalTime>
  <Words>168</Words>
  <Application>Microsoft Office PowerPoint</Application>
  <PresentationFormat>Widescreen</PresentationFormat>
  <Paragraphs>42</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KPMG Extralight</vt:lpstr>
      <vt:lpstr>Times New Roman</vt:lpstr>
      <vt:lpstr>Univers for KPMG</vt:lpstr>
      <vt:lpstr>Univers for KPMG Light</vt:lpstr>
      <vt:lpstr>Widescreen Template</vt:lpstr>
      <vt:lpstr>think-cell Slide</vt:lpstr>
      <vt:lpstr>Standard forms of analysis (aka Workbooks)</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forms of analysis (aka Workbooks)</dc:title>
  <dc:creator>Karien Jansen</dc:creator>
  <cp:lastModifiedBy>Karien Jansen</cp:lastModifiedBy>
  <cp:revision>4</cp:revision>
  <dcterms:created xsi:type="dcterms:W3CDTF">2017-09-13T00:01:00Z</dcterms:created>
  <dcterms:modified xsi:type="dcterms:W3CDTF">2017-09-13T00:29:25Z</dcterms:modified>
</cp:coreProperties>
</file>